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7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8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9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0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1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12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3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4.xml" ContentType="application/vnd.openxmlformats-officedocument.theme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15.xml" ContentType="application/vnd.openxmlformats-officedocument.theme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16.xml" ContentType="application/vnd.openxmlformats-officedocument.theme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7" r:id="rId4"/>
    <p:sldMasterId id="2147483714" r:id="rId5"/>
    <p:sldMasterId id="2147483736" r:id="rId6"/>
    <p:sldMasterId id="2147483758" r:id="rId7"/>
    <p:sldMasterId id="2147483785" r:id="rId8"/>
    <p:sldMasterId id="2147483802" r:id="rId9"/>
    <p:sldMasterId id="2147483815" r:id="rId10"/>
    <p:sldMasterId id="2147483880" r:id="rId11"/>
    <p:sldMasterId id="2147483923" r:id="rId12"/>
    <p:sldMasterId id="2147483949" r:id="rId13"/>
    <p:sldMasterId id="2147483975" r:id="rId14"/>
    <p:sldMasterId id="2147483982" r:id="rId15"/>
    <p:sldMasterId id="2147484002" r:id="rId16"/>
    <p:sldMasterId id="2147484028" r:id="rId17"/>
    <p:sldMasterId id="2147484035" r:id="rId18"/>
    <p:sldMasterId id="2147484087" r:id="rId19"/>
    <p:sldMasterId id="2147484094" r:id="rId20"/>
  </p:sldMasterIdLst>
  <p:notesMasterIdLst>
    <p:notesMasterId r:id="rId64"/>
  </p:notesMasterIdLst>
  <p:handoutMasterIdLst>
    <p:handoutMasterId r:id="rId65"/>
  </p:handoutMasterIdLst>
  <p:sldIdLst>
    <p:sldId id="463" r:id="rId21"/>
    <p:sldId id="465" r:id="rId22"/>
    <p:sldId id="2134805924" r:id="rId23"/>
    <p:sldId id="2134805995" r:id="rId24"/>
    <p:sldId id="2134805993" r:id="rId25"/>
    <p:sldId id="2134805994" r:id="rId26"/>
    <p:sldId id="2134805915" r:id="rId27"/>
    <p:sldId id="518" r:id="rId28"/>
    <p:sldId id="2134805919" r:id="rId29"/>
    <p:sldId id="2134805920" r:id="rId30"/>
    <p:sldId id="2134805918" r:id="rId31"/>
    <p:sldId id="491" r:id="rId32"/>
    <p:sldId id="2134805912" r:id="rId33"/>
    <p:sldId id="2134805913" r:id="rId34"/>
    <p:sldId id="517" r:id="rId35"/>
    <p:sldId id="2134805928" r:id="rId36"/>
    <p:sldId id="2134805929" r:id="rId37"/>
    <p:sldId id="2134805997" r:id="rId38"/>
    <p:sldId id="522" r:id="rId39"/>
    <p:sldId id="519" r:id="rId40"/>
    <p:sldId id="2658" r:id="rId41"/>
    <p:sldId id="2654" r:id="rId42"/>
    <p:sldId id="2134805996" r:id="rId43"/>
    <p:sldId id="904" r:id="rId44"/>
    <p:sldId id="880" r:id="rId45"/>
    <p:sldId id="881" r:id="rId46"/>
    <p:sldId id="930" r:id="rId47"/>
    <p:sldId id="932" r:id="rId48"/>
    <p:sldId id="931" r:id="rId49"/>
    <p:sldId id="891" r:id="rId50"/>
    <p:sldId id="877" r:id="rId51"/>
    <p:sldId id="876" r:id="rId52"/>
    <p:sldId id="887" r:id="rId53"/>
    <p:sldId id="892" r:id="rId54"/>
    <p:sldId id="925" r:id="rId55"/>
    <p:sldId id="927" r:id="rId56"/>
    <p:sldId id="906" r:id="rId57"/>
    <p:sldId id="2134805925" r:id="rId58"/>
    <p:sldId id="2134805926" r:id="rId59"/>
    <p:sldId id="533" r:id="rId60"/>
    <p:sldId id="2134805921" r:id="rId61"/>
    <p:sldId id="2134805922" r:id="rId62"/>
    <p:sldId id="2134805923" r:id="rId63"/>
  </p:sldIdLst>
  <p:sldSz cx="9144000" cy="6858000" type="screen4x3"/>
  <p:notesSz cx="7104063" cy="102346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39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4157">
          <p15:clr>
            <a:srgbClr val="A4A3A4"/>
          </p15:clr>
        </p15:guide>
        <p15:guide id="4" orient="horz" pos="163">
          <p15:clr>
            <a:srgbClr val="A4A3A4"/>
          </p15:clr>
        </p15:guide>
        <p15:guide id="5" pos="5557">
          <p15:clr>
            <a:srgbClr val="A4A3A4"/>
          </p15:clr>
        </p15:guide>
        <p15:guide id="6" pos="2880">
          <p15:clr>
            <a:srgbClr val="A4A3A4"/>
          </p15:clr>
        </p15:guide>
        <p15:guide id="7" pos="20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LIER Raymond" initials="AR" lastIdx="1" clrIdx="0">
    <p:extLst>
      <p:ext uri="{19B8F6BF-5375-455C-9EA6-DF929625EA0E}">
        <p15:presenceInfo xmlns:p15="http://schemas.microsoft.com/office/powerpoint/2012/main" userId="S::raymond.allier@eramet-ecotitanium.com::6a1016cf-8faf-4f0f-b1aa-32775814846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001A"/>
    <a:srgbClr val="EEA300"/>
    <a:srgbClr val="808080"/>
    <a:srgbClr val="F27019"/>
    <a:srgbClr val="1BAD93"/>
    <a:srgbClr val="21B3EF"/>
    <a:srgbClr val="6AB732"/>
    <a:srgbClr val="1D25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F23C42E-187A-4A9E-8E75-6000BFF1B73E}" v="2" dt="2022-02-28T11:17:18.208"/>
    <p1510:client id="{7F62BBBA-109E-4385-8040-1368B1FB44C4}" v="9" dt="2022-02-28T11:29:27.359"/>
    <p1510:client id="{B0CF8C11-1366-4C68-9AAC-1B63D415BED7}" v="1" dt="2022-03-01T06:51:45.9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2838BEF-8BB2-4498-84A7-C5851F593DF1}" styleName="Style moyen 4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5" d="100"/>
          <a:sy n="85" d="100"/>
        </p:scale>
        <p:origin x="1554" y="84"/>
      </p:cViewPr>
      <p:guideLst>
        <p:guide orient="horz" pos="1139"/>
        <p:guide orient="horz" pos="2160"/>
        <p:guide orient="horz" pos="4157"/>
        <p:guide orient="horz" pos="163"/>
        <p:guide pos="5557"/>
        <p:guide pos="2880"/>
        <p:guide pos="20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224"/>
        <p:guide pos="223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6.xml"/><Relationship Id="rId39" Type="http://schemas.openxmlformats.org/officeDocument/2006/relationships/slide" Target="slides/slide19.xml"/><Relationship Id="rId21" Type="http://schemas.openxmlformats.org/officeDocument/2006/relationships/slide" Target="slides/slide1.xml"/><Relationship Id="rId34" Type="http://schemas.openxmlformats.org/officeDocument/2006/relationships/slide" Target="slides/slide14.xml"/><Relationship Id="rId42" Type="http://schemas.openxmlformats.org/officeDocument/2006/relationships/slide" Target="slides/slide22.xml"/><Relationship Id="rId47" Type="http://schemas.openxmlformats.org/officeDocument/2006/relationships/slide" Target="slides/slide27.xml"/><Relationship Id="rId50" Type="http://schemas.openxmlformats.org/officeDocument/2006/relationships/slide" Target="slides/slide30.xml"/><Relationship Id="rId55" Type="http://schemas.openxmlformats.org/officeDocument/2006/relationships/slide" Target="slides/slide35.xml"/><Relationship Id="rId63" Type="http://schemas.openxmlformats.org/officeDocument/2006/relationships/slide" Target="slides/slide43.xml"/><Relationship Id="rId68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71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4.xml"/><Relationship Id="rId32" Type="http://schemas.openxmlformats.org/officeDocument/2006/relationships/slide" Target="slides/slide12.xml"/><Relationship Id="rId37" Type="http://schemas.openxmlformats.org/officeDocument/2006/relationships/slide" Target="slides/slide17.xml"/><Relationship Id="rId40" Type="http://schemas.openxmlformats.org/officeDocument/2006/relationships/slide" Target="slides/slide20.xml"/><Relationship Id="rId45" Type="http://schemas.openxmlformats.org/officeDocument/2006/relationships/slide" Target="slides/slide25.xml"/><Relationship Id="rId53" Type="http://schemas.openxmlformats.org/officeDocument/2006/relationships/slide" Target="slides/slide33.xml"/><Relationship Id="rId58" Type="http://schemas.openxmlformats.org/officeDocument/2006/relationships/slide" Target="slides/slide38.xml"/><Relationship Id="rId66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slide" Target="slides/slide16.xml"/><Relationship Id="rId49" Type="http://schemas.openxmlformats.org/officeDocument/2006/relationships/slide" Target="slides/slide29.xml"/><Relationship Id="rId57" Type="http://schemas.openxmlformats.org/officeDocument/2006/relationships/slide" Target="slides/slide37.xml"/><Relationship Id="rId61" Type="http://schemas.openxmlformats.org/officeDocument/2006/relationships/slide" Target="slides/slide4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1.xml"/><Relationship Id="rId44" Type="http://schemas.openxmlformats.org/officeDocument/2006/relationships/slide" Target="slides/slide24.xml"/><Relationship Id="rId52" Type="http://schemas.openxmlformats.org/officeDocument/2006/relationships/slide" Target="slides/slide32.xml"/><Relationship Id="rId60" Type="http://schemas.openxmlformats.org/officeDocument/2006/relationships/slide" Target="slides/slide40.xml"/><Relationship Id="rId65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slide" Target="slides/slide15.xml"/><Relationship Id="rId43" Type="http://schemas.openxmlformats.org/officeDocument/2006/relationships/slide" Target="slides/slide23.xml"/><Relationship Id="rId48" Type="http://schemas.openxmlformats.org/officeDocument/2006/relationships/slide" Target="slides/slide28.xml"/><Relationship Id="rId56" Type="http://schemas.openxmlformats.org/officeDocument/2006/relationships/slide" Target="slides/slide36.xml"/><Relationship Id="rId64" Type="http://schemas.openxmlformats.org/officeDocument/2006/relationships/notesMaster" Target="notesMasters/notesMaster1.xml"/><Relationship Id="rId69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1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5.xml"/><Relationship Id="rId33" Type="http://schemas.openxmlformats.org/officeDocument/2006/relationships/slide" Target="slides/slide13.xml"/><Relationship Id="rId38" Type="http://schemas.openxmlformats.org/officeDocument/2006/relationships/slide" Target="slides/slide18.xml"/><Relationship Id="rId46" Type="http://schemas.openxmlformats.org/officeDocument/2006/relationships/slide" Target="slides/slide26.xml"/><Relationship Id="rId59" Type="http://schemas.openxmlformats.org/officeDocument/2006/relationships/slide" Target="slides/slide39.xml"/><Relationship Id="rId67" Type="http://schemas.openxmlformats.org/officeDocument/2006/relationships/presProps" Target="presProps.xml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21.xml"/><Relationship Id="rId54" Type="http://schemas.openxmlformats.org/officeDocument/2006/relationships/slide" Target="slides/slide34.xml"/><Relationship Id="rId62" Type="http://schemas.openxmlformats.org/officeDocument/2006/relationships/slide" Target="slides/slide42.xml"/><Relationship Id="rId7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78427" cy="511730"/>
          </a:xfrm>
          <a:prstGeom prst="rect">
            <a:avLst/>
          </a:prstGeom>
        </p:spPr>
        <p:txBody>
          <a:bodyPr vert="horz" lIns="93338" tIns="46669" rIns="93338" bIns="46669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3" y="1"/>
            <a:ext cx="3078427" cy="511730"/>
          </a:xfrm>
          <a:prstGeom prst="rect">
            <a:avLst/>
          </a:prstGeom>
        </p:spPr>
        <p:txBody>
          <a:bodyPr vert="horz" lIns="93338" tIns="46669" rIns="93338" bIns="46669" rtlCol="0"/>
          <a:lstStyle>
            <a:lvl1pPr algn="r">
              <a:defRPr sz="1200"/>
            </a:lvl1pPr>
          </a:lstStyle>
          <a:p>
            <a:fld id="{A81FA138-7DB1-5D46-92DA-50B2E1494A64}" type="datetimeFigureOut">
              <a:rPr lang="en-US" smtClean="0"/>
              <a:t>3/1/2022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721106"/>
            <a:ext cx="3078427" cy="511730"/>
          </a:xfrm>
          <a:prstGeom prst="rect">
            <a:avLst/>
          </a:prstGeom>
        </p:spPr>
        <p:txBody>
          <a:bodyPr vert="horz" lIns="93338" tIns="46669" rIns="93338" bIns="46669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3" y="9721106"/>
            <a:ext cx="3078427" cy="511730"/>
          </a:xfrm>
          <a:prstGeom prst="rect">
            <a:avLst/>
          </a:prstGeom>
        </p:spPr>
        <p:txBody>
          <a:bodyPr vert="horz" lIns="93338" tIns="46669" rIns="93338" bIns="46669" rtlCol="0" anchor="b"/>
          <a:lstStyle>
            <a:lvl1pPr algn="r">
              <a:defRPr sz="1200"/>
            </a:lvl1pPr>
          </a:lstStyle>
          <a:p>
            <a:fld id="{7C13BED9-B0D1-CC4C-9A1E-7B67619CC8F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453899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78427" cy="511730"/>
          </a:xfrm>
          <a:prstGeom prst="rect">
            <a:avLst/>
          </a:prstGeom>
        </p:spPr>
        <p:txBody>
          <a:bodyPr vert="horz" lIns="93338" tIns="46669" rIns="93338" bIns="46669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3" y="1"/>
            <a:ext cx="3078427" cy="511730"/>
          </a:xfrm>
          <a:prstGeom prst="rect">
            <a:avLst/>
          </a:prstGeom>
        </p:spPr>
        <p:txBody>
          <a:bodyPr vert="horz" lIns="93338" tIns="46669" rIns="93338" bIns="46669" rtlCol="0"/>
          <a:lstStyle>
            <a:lvl1pPr algn="r">
              <a:defRPr sz="1200"/>
            </a:lvl1pPr>
          </a:lstStyle>
          <a:p>
            <a:fld id="{EEC2DDFA-0CE8-2B40-BF19-7FB94F1821B0}" type="datetimeFigureOut">
              <a:rPr lang="en-US" smtClean="0"/>
              <a:t>3/1/2022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6763"/>
            <a:ext cx="5119687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38" tIns="46669" rIns="93338" bIns="46669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861443"/>
            <a:ext cx="5683250" cy="4605575"/>
          </a:xfrm>
          <a:prstGeom prst="rect">
            <a:avLst/>
          </a:prstGeom>
        </p:spPr>
        <p:txBody>
          <a:bodyPr vert="horz" lIns="93338" tIns="46669" rIns="93338" bIns="46669" rtlCol="0"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721106"/>
            <a:ext cx="3078427" cy="511730"/>
          </a:xfrm>
          <a:prstGeom prst="rect">
            <a:avLst/>
          </a:prstGeom>
        </p:spPr>
        <p:txBody>
          <a:bodyPr vert="horz" lIns="93338" tIns="46669" rIns="93338" bIns="46669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3" y="9721106"/>
            <a:ext cx="3078427" cy="511730"/>
          </a:xfrm>
          <a:prstGeom prst="rect">
            <a:avLst/>
          </a:prstGeom>
        </p:spPr>
        <p:txBody>
          <a:bodyPr vert="horz" lIns="93338" tIns="46669" rIns="93338" bIns="46669" rtlCol="0" anchor="b"/>
          <a:lstStyle>
            <a:lvl1pPr algn="r">
              <a:defRPr sz="1200"/>
            </a:lvl1pPr>
          </a:lstStyle>
          <a:p>
            <a:fld id="{6CC73AFC-67BE-9140-AEFA-9E640EA7100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1875616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7524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C73AFC-67BE-9140-AEFA-9E640EA71009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570744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19.pn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19.pn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9.png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19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19.png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19.pn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19.pn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19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19.png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19.png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9.png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19.pn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19.png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17.pn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19.png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19.png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9.png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19.png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19.png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19.pn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19.pn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19.png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19.png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19.pn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9.png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19.pn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19.png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17.png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7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7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7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7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7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Relationship Id="rId4" Type="http://schemas.microsoft.com/office/2007/relationships/hdphoto" Target="../media/hdphoto1.wdp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0.jpeg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0.jpeg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1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ITRE DE LA PARTIE SUR PLUSIEURS LIGNES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SOUS-TITRE DE LA PARTI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>
                <a:solidFill>
                  <a:srgbClr val="DB001A"/>
                </a:solidFill>
              </a:rPr>
              <a:t>Groupe</a:t>
            </a:r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6"/>
            <a:ext cx="2846642" cy="2834451"/>
          </a:xfrm>
          <a:prstGeom prst="rect">
            <a:avLst/>
          </a:prstGeom>
        </p:spPr>
      </p:pic>
      <p:sp>
        <p:nvSpPr>
          <p:cNvPr id="2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2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4899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/>
              <a:t>INSÉRER GRAPHIQUE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>
                <a:solidFill>
                  <a:srgbClr val="DB001A"/>
                </a:solidFill>
              </a:rPr>
              <a:t>Groupe</a:t>
            </a:r>
            <a:endParaRPr lang="fr-FR" sz="1000" b="1">
              <a:solidFill>
                <a:srgbClr val="DB001A"/>
              </a:solidFill>
            </a:endParaRP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30821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coTitaniu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757F88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pic>
        <p:nvPicPr>
          <p:cNvPr id="17" name="Image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7754374" y="466725"/>
            <a:ext cx="129544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18779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coTitaniu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3977772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</a:t>
            </a:r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757F88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757F88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lorem ipsum</a:t>
            </a: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757F88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pic>
        <p:nvPicPr>
          <p:cNvPr id="21" name="Image 2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7754374" y="466725"/>
            <a:ext cx="129544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17206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coTitaniu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</a:t>
            </a:r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757F88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757F88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757F88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pic>
        <p:nvPicPr>
          <p:cNvPr id="21" name="Image 2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7754374" y="466725"/>
            <a:ext cx="129544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929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coTitaniu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757F88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/>
              <a:t>INSÉRER GRAPHIQUE</a:t>
            </a:r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7754374" y="466725"/>
            <a:ext cx="129544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43553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coTitaniu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757F88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/>
              <a:t>INSÉRER TABLEAU</a:t>
            </a:r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/>
              <a:t>Insérer une légende</a:t>
            </a:r>
          </a:p>
          <a:p>
            <a:endParaRPr lang="fr-FR"/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7754374" y="466725"/>
            <a:ext cx="129544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86860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206973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4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ITRE DE LA PARTIE SUR PLUSIEURS LIGN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SOUS-TITRE DE LA PARTIE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6" name="Oval 2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>
                <a:solidFill>
                  <a:srgbClr val="F27019"/>
                </a:solidFill>
              </a:rPr>
              <a:t>All</a:t>
            </a:r>
            <a:endParaRPr lang="fr-FR" sz="3600" b="1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pic>
        <p:nvPicPr>
          <p:cNvPr id="21" name="Picture 20" descr="8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058" y="3176009"/>
            <a:ext cx="2877120" cy="2852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58998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4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ITRE DE LA PARTIE SUR PLUSIEURS LIGN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SOUS-TITRE DE LA PARTI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>
                <a:solidFill>
                  <a:srgbClr val="F27019"/>
                </a:solidFill>
              </a:rPr>
              <a:t>All</a:t>
            </a:r>
            <a:endParaRPr lang="fr-FR" sz="3600" b="1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pic>
        <p:nvPicPr>
          <p:cNvPr id="26" name="Picture 25" descr="9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0852" y="3151627"/>
            <a:ext cx="2877120" cy="287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37973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256562459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IMUM</a:t>
            </a:r>
            <a:endParaRPr lang="fr-FR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exte ou chiffre clé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16208782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/>
              <a:t>INSÉRER TABLEAU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>
                <a:solidFill>
                  <a:srgbClr val="DB001A"/>
                </a:solidFill>
              </a:rPr>
              <a:t>Groupe</a:t>
            </a:r>
            <a:endParaRPr lang="fr-FR" sz="1000" b="1">
              <a:solidFill>
                <a:srgbClr val="DB001A"/>
              </a:solidFill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 vert="horz"/>
          <a:lstStyle>
            <a:lvl1pPr marL="171450" indent="-171450">
              <a:buFont typeface="Arial"/>
              <a:buChar char="•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/>
              <a:t>Insérer une légende</a:t>
            </a:r>
          </a:p>
          <a:p>
            <a:pPr lvl="0"/>
            <a:endParaRPr lang="fr-FR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00438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IMUM</a:t>
            </a:r>
            <a:endParaRPr lang="fr-FR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130092435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DEUX LIGNES MAXIMUM</a:t>
            </a:r>
            <a:endParaRPr lang="fr-FR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402383921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265437227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</a:t>
            </a:r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lorem ipsum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174629119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</a:t>
            </a:r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2969708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/>
              <a:t>INSÉRER GRAPHIQUE</a:t>
            </a:r>
          </a:p>
        </p:txBody>
      </p:sp>
    </p:spTree>
    <p:extLst>
      <p:ext uri="{BB962C8B-B14F-4D97-AF65-F5344CB8AC3E}">
        <p14:creationId xmlns:p14="http://schemas.microsoft.com/office/powerpoint/2010/main" val="49507981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/>
              <a:t>INSÉRER TABLEAU</a:t>
            </a:r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/>
              <a:t>Insérer une légende</a:t>
            </a:r>
          </a:p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0578464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812709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Prénom Nom</a:t>
            </a:r>
          </a:p>
          <a:p>
            <a:pPr lvl="1"/>
            <a:r>
              <a:rPr lang="fr-FR"/>
              <a:t>Fonction</a:t>
            </a:r>
          </a:p>
          <a:p>
            <a:pPr lvl="2"/>
            <a:r>
              <a:rPr lang="fr-FR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QBR Alliages - 30 janvier 2019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565374" y="494312"/>
            <a:ext cx="3063051" cy="12600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44543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36000" y="1260134"/>
            <a:ext cx="36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QBR Alliages - 30 janvier 2019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1266" y="167563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36000" y="167563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1266" y="2425088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36000" y="2425088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41266" y="3174546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36000" y="3174546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41266" y="3924003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36000" y="3924003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41266" y="467346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936000" y="467346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581722" y="167563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076456" y="167563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581722" y="2425088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76456" y="2425088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581722" y="3174546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076456" y="3174546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581722" y="3924003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5076456" y="3924003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581722" y="467346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76456" y="467346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5076456" y="5445224"/>
            <a:ext cx="36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1572570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646545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QBR Alliages - 30 janvier 2019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61393483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8" name="Connecteur droit 7"/>
          <p:cNvCxnSpPr/>
          <p:nvPr userDrawn="1"/>
        </p:nvCxnSpPr>
        <p:spPr bwMode="gray">
          <a:xfrm>
            <a:off x="540000" y="608421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40000" y="1242000"/>
            <a:ext cx="806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QBR Alliages - 30 janvier 2019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080320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QBR Alliages - 30 janvier 2019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cxnSp>
        <p:nvCxnSpPr>
          <p:cNvPr id="13" name="Connecteur droit 12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35049213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QBR Alliages - 30 janvier 2019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89336" y="2206800"/>
            <a:ext cx="3063051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19981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Prénom Nom</a:t>
            </a:r>
          </a:p>
          <a:p>
            <a:pPr lvl="1"/>
            <a:r>
              <a:rPr lang="fr-FR"/>
              <a:t>Fonction</a:t>
            </a:r>
          </a:p>
          <a:p>
            <a:pPr lvl="2"/>
            <a:r>
              <a:rPr lang="fr-FR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QBR Alliages - 30 janvier 2019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565374" y="494312"/>
            <a:ext cx="3063051" cy="12600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87998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36000" y="1260134"/>
            <a:ext cx="36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QBR Alliages - 30 janvier 2019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1266" y="167563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36000" y="167563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1266" y="2425088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36000" y="2425088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41266" y="3174546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36000" y="3174546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41266" y="3924003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36000" y="3924003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41266" y="467346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936000" y="467346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581722" y="167563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076456" y="167563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581722" y="2425088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76456" y="2425088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581722" y="3174546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076456" y="3174546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581722" y="3924003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5076456" y="3924003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581722" y="467346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76456" y="467346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5076456" y="5445224"/>
            <a:ext cx="36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403134727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QBR Alliages - 30 janvier 2019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81703162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8" name="Connecteur droit 7"/>
          <p:cNvCxnSpPr/>
          <p:nvPr userDrawn="1"/>
        </p:nvCxnSpPr>
        <p:spPr bwMode="gray">
          <a:xfrm>
            <a:off x="540000" y="972102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40000" y="1242000"/>
            <a:ext cx="806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QBR Alliages - 30 janvier 2019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68823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QBR Alliages - 30 janvier 2019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cxnSp>
        <p:nvCxnSpPr>
          <p:cNvPr id="13" name="Connecteur droit 12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43946450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QBR Alliages - 30 janvier 2019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89336" y="2206800"/>
            <a:ext cx="3063051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548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7308857" y="4227236"/>
            <a:ext cx="1382563" cy="1382563"/>
            <a:chOff x="2217201" y="744513"/>
            <a:chExt cx="1382563" cy="1382563"/>
          </a:xfrm>
        </p:grpSpPr>
        <p:sp>
          <p:nvSpPr>
            <p:cNvPr id="25" name="Oval 2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2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ITRE DE LA PARTIE SUR PLUSIEURS LIGNES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6AB732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SOUS-TITRE DE LA PARTI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7308857" y="3395442"/>
            <a:ext cx="338678" cy="822317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Oval 13"/>
          <p:cNvSpPr/>
          <p:nvPr userDrawn="1"/>
        </p:nvSpPr>
        <p:spPr>
          <a:xfrm>
            <a:off x="7124339" y="534314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>
                <a:solidFill>
                  <a:srgbClr val="6AB732"/>
                </a:solidFill>
              </a:rPr>
              <a:t>Ni</a:t>
            </a:r>
            <a:endParaRPr lang="fr-FR" sz="3600" b="1">
              <a:solidFill>
                <a:srgbClr val="6AB732"/>
              </a:solidFill>
            </a:endParaRPr>
          </a:p>
        </p:txBody>
      </p:sp>
      <p:pic>
        <p:nvPicPr>
          <p:cNvPr id="18" name="Picture 17" descr="3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6250" y="541370"/>
            <a:ext cx="2822260" cy="2816164"/>
          </a:xfrm>
          <a:prstGeom prst="rect">
            <a:avLst/>
          </a:prstGeom>
        </p:spPr>
      </p:pic>
      <p:sp>
        <p:nvSpPr>
          <p:cNvPr id="22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2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08739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696060" y="5543811"/>
            <a:ext cx="1925342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Prénom Nom</a:t>
            </a:r>
          </a:p>
          <a:p>
            <a:pPr lvl="1"/>
            <a:r>
              <a:rPr lang="fr-FR"/>
              <a:t>Fonction</a:t>
            </a:r>
          </a:p>
          <a:p>
            <a:pPr lvl="2"/>
            <a:r>
              <a:rPr lang="fr-FR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6818" y="1187335"/>
            <a:ext cx="198305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75560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Prénom Nom</a:t>
            </a:r>
          </a:p>
          <a:p>
            <a:pPr lvl="1"/>
            <a:r>
              <a:rPr lang="fr-FR"/>
              <a:t>Fonction</a:t>
            </a:r>
          </a:p>
          <a:p>
            <a:pPr lvl="2"/>
            <a:r>
              <a:rPr lang="fr-FR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696060" y="5543811"/>
            <a:ext cx="1925342" cy="792000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6818" y="1187335"/>
            <a:ext cx="198305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6247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696000" y="5544000"/>
            <a:ext cx="1925346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Prénom Nom</a:t>
            </a:r>
          </a:p>
          <a:p>
            <a:pPr lvl="1"/>
            <a:r>
              <a:rPr lang="fr-FR"/>
              <a:t>Fonction</a:t>
            </a:r>
          </a:p>
          <a:p>
            <a:pPr lvl="2"/>
            <a:r>
              <a:rPr lang="fr-FR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56818" y="1124744"/>
            <a:ext cx="2225526" cy="899999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38247265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36000" y="1260134"/>
            <a:ext cx="36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1266" y="167563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36000" y="167563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1266" y="2425088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36000" y="2425088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41266" y="3174546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36000" y="3174546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41266" y="3924003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36000" y="3924003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41266" y="467346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936000" y="467346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581722" y="167563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076456" y="167563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581722" y="2425088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76456" y="2425088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581722" y="3174546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076456" y="3174546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581722" y="3924003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5076456" y="3924003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581722" y="467346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76456" y="467346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5076456" y="5445224"/>
            <a:ext cx="36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96884980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740352" y="6201308"/>
            <a:ext cx="1006985" cy="43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5467" y="6239979"/>
            <a:ext cx="827998" cy="375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53329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740352" y="6201308"/>
            <a:ext cx="1006985" cy="432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5467" y="6239979"/>
            <a:ext cx="827998" cy="375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89641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5644587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visue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0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2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616800" y="6238800"/>
            <a:ext cx="828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Sélectionner l’icône pour insérer une image, </a:t>
            </a:r>
            <a:br>
              <a:rPr lang="fr-FR" noProof="0"/>
            </a:br>
            <a:r>
              <a:rPr lang="fr-FR" noProof="0"/>
              <a:t>puis disposer l’image en arrière plan </a:t>
            </a:r>
            <a:br>
              <a:rPr lang="fr-FR" noProof="0"/>
            </a:br>
            <a:r>
              <a:rPr lang="fr-FR" noProof="0"/>
              <a:t>(Sélectionner l’image avec le bouton droit de la souris / </a:t>
            </a:r>
            <a:br>
              <a:rPr lang="fr-FR" noProof="0"/>
            </a:br>
            <a:r>
              <a:rPr lang="fr-FR" noProof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57603965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visue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2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0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616800" y="6238800"/>
            <a:ext cx="828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Sélectionner l’icône pour insérer une image, </a:t>
            </a:r>
            <a:br>
              <a:rPr lang="fr-FR" noProof="0"/>
            </a:br>
            <a:r>
              <a:rPr lang="fr-FR" noProof="0"/>
              <a:t>puis disposer l’image en arrière plan </a:t>
            </a:r>
            <a:br>
              <a:rPr lang="fr-FR" noProof="0"/>
            </a:br>
            <a:r>
              <a:rPr lang="fr-FR" noProof="0"/>
              <a:t>(Sélectionner l’image avec le bouton droit de la souris / </a:t>
            </a:r>
            <a:br>
              <a:rPr lang="fr-FR" noProof="0"/>
            </a:br>
            <a:r>
              <a:rPr lang="fr-FR" noProof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87602080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visuel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0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616800" y="6238800"/>
            <a:ext cx="828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Sélectionner l’icône pour insérer une image, </a:t>
            </a:r>
            <a:br>
              <a:rPr lang="fr-FR" noProof="0"/>
            </a:br>
            <a:r>
              <a:rPr lang="fr-FR" noProof="0"/>
              <a:t>puis disposer l’image en arrière plan </a:t>
            </a:r>
            <a:br>
              <a:rPr lang="fr-FR" noProof="0"/>
            </a:br>
            <a:r>
              <a:rPr lang="fr-FR" noProof="0"/>
              <a:t>(Sélectionner l’image avec le bouton droit de la souris / </a:t>
            </a:r>
            <a:br>
              <a:rPr lang="fr-FR" noProof="0"/>
            </a:br>
            <a:r>
              <a:rPr lang="fr-FR" noProof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27010309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>
                <a:solidFill>
                  <a:srgbClr val="6AB732"/>
                </a:solidFill>
              </a:rPr>
              <a:t>Ni</a:t>
            </a:r>
            <a:endParaRPr lang="fr-FR" sz="1600" b="1">
              <a:solidFill>
                <a:srgbClr val="6AB732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/>
              <a:t>TITRE DE LA PAGE SUR DEUX LIGNES MAXIMUM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94750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visuel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0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616800" y="6238800"/>
            <a:ext cx="828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Sélectionner l’icône pour insérer une image, </a:t>
            </a:r>
            <a:br>
              <a:rPr lang="fr-FR" noProof="0"/>
            </a:br>
            <a:r>
              <a:rPr lang="fr-FR" noProof="0"/>
              <a:t>puis disposer l’image en arrière plan </a:t>
            </a:r>
            <a:br>
              <a:rPr lang="fr-FR" noProof="0"/>
            </a:br>
            <a:r>
              <a:rPr lang="fr-FR" noProof="0"/>
              <a:t>(Sélectionner l’image avec le bouton droit de la souris / </a:t>
            </a:r>
            <a:br>
              <a:rPr lang="fr-FR" noProof="0"/>
            </a:br>
            <a:r>
              <a:rPr lang="fr-FR" noProof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108068033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8" name="Connecteur droit 7"/>
          <p:cNvCxnSpPr/>
          <p:nvPr userDrawn="1"/>
        </p:nvCxnSpPr>
        <p:spPr bwMode="gray">
          <a:xfrm>
            <a:off x="540000" y="629202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40000" y="1242000"/>
            <a:ext cx="806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7366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Titre de la présentation - 00/00/00     Classification : 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265886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Titre de la présentation - 00/00/00     Classification : 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cxnSp>
        <p:nvCxnSpPr>
          <p:cNvPr id="13" name="Connecteur droit 12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32314166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0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540000" y="1291282"/>
            <a:ext cx="4032000" cy="3924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Sélectionner l’icône pour insérer une imag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Titre de la présentation - 00/00/00     Classification : 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cxnSp>
        <p:nvCxnSpPr>
          <p:cNvPr id="17" name="Connecteur droit 16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882"/>
            <a:ext cx="3744000" cy="3060000"/>
          </a:xfrm>
        </p:spPr>
        <p:txBody>
          <a:bodyPr/>
          <a:lstStyle>
            <a:lvl5pPr marL="712800" indent="-266400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336890" y="4347852"/>
            <a:ext cx="162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0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126964" y="4347852"/>
            <a:ext cx="162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</p:spTree>
    <p:extLst>
      <p:ext uri="{BB962C8B-B14F-4D97-AF65-F5344CB8AC3E}">
        <p14:creationId xmlns:p14="http://schemas.microsoft.com/office/powerpoint/2010/main" val="355040773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texte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4874400" y="1306264"/>
            <a:ext cx="37296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8"/>
          </p:nvPr>
        </p:nvSpPr>
        <p:spPr bwMode="gray">
          <a:xfrm>
            <a:off x="4874400" y="1306264"/>
            <a:ext cx="3730075" cy="3762000"/>
          </a:xfrm>
          <a:ln w="22225">
            <a:noFill/>
            <a:miter lim="800000"/>
          </a:ln>
        </p:spPr>
        <p:txBody>
          <a:bodyPr lIns="216000" tIns="216000" rIns="108000"/>
          <a:lstStyle>
            <a:lvl1pPr marL="3600">
              <a:lnSpc>
                <a:spcPct val="97000"/>
              </a:lnSpc>
              <a:spcAft>
                <a:spcPts val="0"/>
              </a:spcAft>
              <a:defRPr sz="1200" baseline="0"/>
            </a:lvl1pPr>
            <a:lvl2pPr marL="0" indent="0">
              <a:lnSpc>
                <a:spcPct val="97000"/>
              </a:lnSpc>
              <a:spcBef>
                <a:spcPts val="0"/>
              </a:spcBef>
              <a:buNone/>
              <a:tabLst>
                <a:tab pos="0" algn="l"/>
              </a:tabLst>
              <a:defRPr b="0">
                <a:solidFill>
                  <a:schemeClr val="accent2"/>
                </a:solidFill>
              </a:defRPr>
            </a:lvl2pPr>
            <a:lvl3pPr marL="3175" indent="0">
              <a:buFont typeface="Arial" pitchFamily="34" charset="0"/>
              <a:buNone/>
              <a:defRPr/>
            </a:lvl3pPr>
            <a:lvl4pPr marL="4762" indent="0">
              <a:buNone/>
              <a:defRPr/>
            </a:lvl4pPr>
            <a:lvl5pPr marL="3175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Titre de la présentation - 00/00/00     Classification : 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cxnSp>
        <p:nvCxnSpPr>
          <p:cNvPr id="17" name="Connecteur droit 16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01668205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chiffres clés encadr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5" name="Espace réservé du pied de page 14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Titre de la présentation - 00/00/00     Classification : </a:t>
            </a:r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cxnSp>
        <p:nvCxnSpPr>
          <p:cNvPr id="20" name="Connecteur droit 19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12984" y="1757064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903814" y="1757064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112984" y="3410400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903814" y="3410400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14" name="Rectangle 13"/>
          <p:cNvSpPr/>
          <p:nvPr userDrawn="1"/>
        </p:nvSpPr>
        <p:spPr bwMode="gray">
          <a:xfrm>
            <a:off x="4874400" y="1306264"/>
            <a:ext cx="37296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36175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graphiqu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583130" y="1242000"/>
            <a:ext cx="3600000" cy="4104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Titre de la présentation - 00/00/00     Classification : 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cxnSp>
        <p:nvCxnSpPr>
          <p:cNvPr id="17" name="Connecteur droit 16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280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336890" y="4088698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126964" y="4088698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33321415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graphiqu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583130" y="1242000"/>
            <a:ext cx="3780000" cy="4176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Titre de la présentation - 00/00/00     Classification : 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cxnSp>
        <p:nvCxnSpPr>
          <p:cNvPr id="17" name="Connecteur droit 16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316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336890" y="4463150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126964" y="4463150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75321020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540000" y="2420888"/>
            <a:ext cx="36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13" name="Espace réservé du graphique 16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5004000" y="2420888"/>
            <a:ext cx="36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Titre de la présentation - 00/00/00     Classification : </a:t>
            </a:r>
          </a:p>
        </p:txBody>
      </p:sp>
      <p:sp>
        <p:nvSpPr>
          <p:cNvPr id="16" name="Espace réservé du numéro de diapositive 15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cxnSp>
        <p:nvCxnSpPr>
          <p:cNvPr id="18" name="Connecteur droit 17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40000" y="1242000"/>
            <a:ext cx="4104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860000" y="1242000"/>
            <a:ext cx="3744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96566295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Prénom NOM</a:t>
            </a:r>
          </a:p>
          <a:p>
            <a:pPr lvl="1"/>
            <a:r>
              <a:rPr lang="fr-FR"/>
              <a:t>Fonction</a:t>
            </a:r>
          </a:p>
          <a:p>
            <a:pPr lvl="2"/>
            <a:r>
              <a:rPr lang="fr-FR"/>
              <a:t>prenom.nom@erametgroup.com</a:t>
            </a:r>
          </a:p>
          <a:p>
            <a:pPr lvl="3"/>
            <a:r>
              <a:rPr lang="fr-FR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47752" y="5968402"/>
            <a:ext cx="1575284" cy="64800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5339" y="5981782"/>
            <a:ext cx="1427796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9571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IMUM</a:t>
            </a:r>
            <a:endParaRPr lang="fr-FR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exte ou chiffre clé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6" name="Oval 25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>
                <a:solidFill>
                  <a:srgbClr val="6AB732"/>
                </a:solidFill>
              </a:rPr>
              <a:t>Ni</a:t>
            </a:r>
            <a:endParaRPr lang="fr-FR" sz="1600" b="1">
              <a:solidFill>
                <a:srgbClr val="6AB732"/>
              </a:solidFill>
            </a:endParaRPr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959065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Prénom NOM</a:t>
            </a:r>
          </a:p>
          <a:p>
            <a:pPr lvl="1"/>
            <a:r>
              <a:rPr lang="fr-FR"/>
              <a:t>Fonction</a:t>
            </a:r>
          </a:p>
          <a:p>
            <a:pPr lvl="2"/>
            <a:r>
              <a:rPr lang="fr-FR"/>
              <a:t>prenom.nom@erametgroup.com</a:t>
            </a:r>
          </a:p>
          <a:p>
            <a:pPr lvl="3"/>
            <a:r>
              <a:rPr lang="fr-FR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/>
              <a:t>contacts</a:t>
            </a: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47752" y="5968402"/>
            <a:ext cx="1575284" cy="648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5339" y="5981782"/>
            <a:ext cx="1427796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21368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Prénom NOM</a:t>
            </a:r>
          </a:p>
          <a:p>
            <a:pPr lvl="1"/>
            <a:r>
              <a:rPr lang="fr-FR"/>
              <a:t>Fonction</a:t>
            </a:r>
          </a:p>
          <a:p>
            <a:pPr lvl="2"/>
            <a:r>
              <a:rPr lang="fr-FR"/>
              <a:t>prenom.nom@erametgroup.com</a:t>
            </a:r>
          </a:p>
          <a:p>
            <a:pPr lvl="3"/>
            <a:r>
              <a:rPr lang="fr-FR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/>
              <a:t>contacts</a:t>
            </a:r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47752" y="5968402"/>
            <a:ext cx="1575283" cy="6480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5295339" y="5927134"/>
            <a:ext cx="1657321" cy="670218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5106262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690712" y="5547712"/>
            <a:ext cx="1925347" cy="792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474" y="2559571"/>
            <a:ext cx="198305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82796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690712" y="5547712"/>
            <a:ext cx="1925347" cy="79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474" y="2559571"/>
            <a:ext cx="198305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23648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690712" y="5547712"/>
            <a:ext cx="1925346" cy="79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475" y="2559571"/>
            <a:ext cx="198305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97649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Prénom Nom</a:t>
            </a:r>
          </a:p>
          <a:p>
            <a:pPr lvl="1"/>
            <a:r>
              <a:rPr lang="fr-FR"/>
              <a:t>Fonction</a:t>
            </a:r>
          </a:p>
          <a:p>
            <a:pPr lvl="2"/>
            <a:r>
              <a:rPr lang="fr-FR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QBR Alliages - 30 janvier 2019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565374" y="494312"/>
            <a:ext cx="3063051" cy="12600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32636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36000" y="1260134"/>
            <a:ext cx="36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QBR Alliages - 30 janvier 2019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1266" y="167563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36000" y="167563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1266" y="2425088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36000" y="2425088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41266" y="3174546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36000" y="3174546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41266" y="3924003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36000" y="3924003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41266" y="467346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936000" y="467346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581722" y="167563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076456" y="167563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581722" y="2425088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76456" y="2425088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581722" y="3174546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076456" y="3174546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581722" y="3924003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5076456" y="3924003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581722" y="467346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76456" y="467346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5076456" y="5445224"/>
            <a:ext cx="36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59328221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QBR Alliages - 30 janvier 2019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01723032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8" name="Connecteur droit 7"/>
          <p:cNvCxnSpPr/>
          <p:nvPr userDrawn="1"/>
        </p:nvCxnSpPr>
        <p:spPr bwMode="gray">
          <a:xfrm>
            <a:off x="540000" y="972102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40000" y="1242000"/>
            <a:ext cx="806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QBR Alliages - 30 janvier 2019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44311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QBR Alliages - 30 janvier 2019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cxnSp>
        <p:nvCxnSpPr>
          <p:cNvPr id="13" name="Connecteur droit 12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6342525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IMUM</a:t>
            </a:r>
            <a:endParaRPr lang="fr-FR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>
                <a:solidFill>
                  <a:srgbClr val="6AB732"/>
                </a:solidFill>
              </a:rPr>
              <a:t>Ni</a:t>
            </a:r>
            <a:endParaRPr lang="fr-FR" sz="1600" b="1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375705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QBR Alliages - 30 janvier 2019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89336" y="2206800"/>
            <a:ext cx="3063051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19012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696060" y="5543811"/>
            <a:ext cx="1925342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Prénom Nom</a:t>
            </a:r>
          </a:p>
          <a:p>
            <a:pPr lvl="1"/>
            <a:r>
              <a:rPr lang="fr-FR"/>
              <a:t>Fonction</a:t>
            </a:r>
          </a:p>
          <a:p>
            <a:pPr lvl="2"/>
            <a:r>
              <a:rPr lang="fr-FR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6818" y="1187335"/>
            <a:ext cx="198305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8084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Prénom Nom</a:t>
            </a:r>
          </a:p>
          <a:p>
            <a:pPr lvl="1"/>
            <a:r>
              <a:rPr lang="fr-FR"/>
              <a:t>Fonction</a:t>
            </a:r>
          </a:p>
          <a:p>
            <a:pPr lvl="2"/>
            <a:r>
              <a:rPr lang="fr-FR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696060" y="5543811"/>
            <a:ext cx="1925342" cy="792000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6818" y="1187335"/>
            <a:ext cx="198305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45043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696000" y="5544000"/>
            <a:ext cx="1925346" cy="792000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Prénom Nom</a:t>
            </a:r>
          </a:p>
          <a:p>
            <a:pPr lvl="1"/>
            <a:r>
              <a:rPr lang="fr-FR"/>
              <a:t>Fonction</a:t>
            </a:r>
          </a:p>
          <a:p>
            <a:pPr lvl="2"/>
            <a:r>
              <a:rPr lang="fr-FR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56818" y="1124744"/>
            <a:ext cx="2225526" cy="899999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416984609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36000" y="1260134"/>
            <a:ext cx="36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1266" y="167563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36000" y="167563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1266" y="2425088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36000" y="2425088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41266" y="3174546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36000" y="3174546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41266" y="3924003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36000" y="3924003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41266" y="467346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936000" y="467346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581722" y="167563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076456" y="167563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581722" y="2425088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76456" y="2425088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581722" y="3174546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076456" y="3174546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581722" y="3924003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5076456" y="3924003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581722" y="467346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76456" y="467346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5076456" y="5445224"/>
            <a:ext cx="36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426295025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740352" y="6201308"/>
            <a:ext cx="1006985" cy="43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5467" y="6239979"/>
            <a:ext cx="827998" cy="375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28518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740352" y="6201308"/>
            <a:ext cx="1006985" cy="432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5467" y="6239979"/>
            <a:ext cx="827998" cy="375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23569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97382874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visue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0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2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616800" y="6238800"/>
            <a:ext cx="828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Sélectionner l’icône pour insérer une image, </a:t>
            </a:r>
            <a:br>
              <a:rPr lang="fr-FR" noProof="0"/>
            </a:br>
            <a:r>
              <a:rPr lang="fr-FR" noProof="0"/>
              <a:t>puis disposer l’image en arrière plan </a:t>
            </a:r>
            <a:br>
              <a:rPr lang="fr-FR" noProof="0"/>
            </a:br>
            <a:r>
              <a:rPr lang="fr-FR" noProof="0"/>
              <a:t>(Sélectionner l’image avec le bouton droit de la souris / </a:t>
            </a:r>
            <a:br>
              <a:rPr lang="fr-FR" noProof="0"/>
            </a:br>
            <a:r>
              <a:rPr lang="fr-FR" noProof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313507464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visue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2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0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616800" y="6238800"/>
            <a:ext cx="828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Sélectionner l’icône pour insérer une image, </a:t>
            </a:r>
            <a:br>
              <a:rPr lang="fr-FR" noProof="0"/>
            </a:br>
            <a:r>
              <a:rPr lang="fr-FR" noProof="0"/>
              <a:t>puis disposer l’image en arrière plan </a:t>
            </a:r>
            <a:br>
              <a:rPr lang="fr-FR" noProof="0"/>
            </a:br>
            <a:r>
              <a:rPr lang="fr-FR" noProof="0"/>
              <a:t>(Sélectionner l’image avec le bouton droit de la souris / </a:t>
            </a:r>
            <a:br>
              <a:rPr lang="fr-FR" noProof="0"/>
            </a:br>
            <a:r>
              <a:rPr lang="fr-FR" noProof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23228125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DEUX LIGNES MAXIMUM</a:t>
            </a:r>
            <a:endParaRPr lang="fr-FR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>
                <a:solidFill>
                  <a:srgbClr val="6AB732"/>
                </a:solidFill>
              </a:rPr>
              <a:t>Ni</a:t>
            </a:r>
            <a:endParaRPr lang="fr-FR" sz="1600" b="1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7894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visuel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0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616800" y="6238800"/>
            <a:ext cx="828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Sélectionner l’icône pour insérer une image, </a:t>
            </a:r>
            <a:br>
              <a:rPr lang="fr-FR" noProof="0"/>
            </a:br>
            <a:r>
              <a:rPr lang="fr-FR" noProof="0"/>
              <a:t>puis disposer l’image en arrière plan </a:t>
            </a:r>
            <a:br>
              <a:rPr lang="fr-FR" noProof="0"/>
            </a:br>
            <a:r>
              <a:rPr lang="fr-FR" noProof="0"/>
              <a:t>(Sélectionner l’image avec le bouton droit de la souris / </a:t>
            </a:r>
            <a:br>
              <a:rPr lang="fr-FR" noProof="0"/>
            </a:br>
            <a:r>
              <a:rPr lang="fr-FR" noProof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78404878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visuel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0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5" name="Espace réservé du texte 6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616800" y="6238800"/>
            <a:ext cx="828000" cy="374400"/>
          </a:xfrm>
          <a:blipFill>
            <a:blip r:embed="rId4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Sélectionner l’icône pour insérer une image, </a:t>
            </a:r>
            <a:br>
              <a:rPr lang="fr-FR" noProof="0"/>
            </a:br>
            <a:r>
              <a:rPr lang="fr-FR" noProof="0"/>
              <a:t>puis disposer l’image en arrière plan </a:t>
            </a:r>
            <a:br>
              <a:rPr lang="fr-FR" noProof="0"/>
            </a:br>
            <a:r>
              <a:rPr lang="fr-FR" noProof="0"/>
              <a:t>(Sélectionner l’image avec le bouton droit de la souris / </a:t>
            </a:r>
            <a:br>
              <a:rPr lang="fr-FR" noProof="0"/>
            </a:br>
            <a:r>
              <a:rPr lang="fr-FR" noProof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45229251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8" name="Connecteur droit 7"/>
          <p:cNvCxnSpPr/>
          <p:nvPr userDrawn="1"/>
        </p:nvCxnSpPr>
        <p:spPr bwMode="gray">
          <a:xfrm>
            <a:off x="540000" y="972102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40000" y="1242000"/>
            <a:ext cx="806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7366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Titre de la présentation - 00/00/00     Classification : 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77505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Titre de la présentation - 00/00/00     Classification : 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cxnSp>
        <p:nvCxnSpPr>
          <p:cNvPr id="13" name="Connecteur droit 12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70551369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0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540000" y="1291282"/>
            <a:ext cx="4032000" cy="3924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Sélectionner l’icône pour insérer une imag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Titre de la présentation - 00/00/00     Classification : 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cxnSp>
        <p:nvCxnSpPr>
          <p:cNvPr id="17" name="Connecteur droit 16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882"/>
            <a:ext cx="3744000" cy="3060000"/>
          </a:xfrm>
        </p:spPr>
        <p:txBody>
          <a:bodyPr/>
          <a:lstStyle>
            <a:lvl5pPr marL="712800" indent="-266400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336890" y="4347852"/>
            <a:ext cx="162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0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126964" y="4347852"/>
            <a:ext cx="162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</p:spTree>
    <p:extLst>
      <p:ext uri="{BB962C8B-B14F-4D97-AF65-F5344CB8AC3E}">
        <p14:creationId xmlns:p14="http://schemas.microsoft.com/office/powerpoint/2010/main" val="413863718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texte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4874400" y="1306264"/>
            <a:ext cx="37296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8"/>
          </p:nvPr>
        </p:nvSpPr>
        <p:spPr bwMode="gray">
          <a:xfrm>
            <a:off x="4874400" y="1306264"/>
            <a:ext cx="3730075" cy="3762000"/>
          </a:xfrm>
          <a:ln w="22225">
            <a:noFill/>
            <a:miter lim="800000"/>
          </a:ln>
        </p:spPr>
        <p:txBody>
          <a:bodyPr lIns="216000" tIns="216000" rIns="108000"/>
          <a:lstStyle>
            <a:lvl1pPr marL="3600">
              <a:lnSpc>
                <a:spcPct val="97000"/>
              </a:lnSpc>
              <a:spcAft>
                <a:spcPts val="0"/>
              </a:spcAft>
              <a:defRPr sz="1200" baseline="0"/>
            </a:lvl1pPr>
            <a:lvl2pPr marL="0" indent="0">
              <a:lnSpc>
                <a:spcPct val="97000"/>
              </a:lnSpc>
              <a:spcBef>
                <a:spcPts val="0"/>
              </a:spcBef>
              <a:buNone/>
              <a:tabLst>
                <a:tab pos="0" algn="l"/>
              </a:tabLst>
              <a:defRPr b="0">
                <a:solidFill>
                  <a:schemeClr val="accent2"/>
                </a:solidFill>
              </a:defRPr>
            </a:lvl2pPr>
            <a:lvl3pPr marL="3175" indent="0">
              <a:buFont typeface="Arial" pitchFamily="34" charset="0"/>
              <a:buNone/>
              <a:defRPr/>
            </a:lvl3pPr>
            <a:lvl4pPr marL="4762" indent="0">
              <a:buNone/>
              <a:defRPr/>
            </a:lvl4pPr>
            <a:lvl5pPr marL="3175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Titre de la présentation - 00/00/00     Classification : 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cxnSp>
        <p:nvCxnSpPr>
          <p:cNvPr id="17" name="Connecteur droit 16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30276197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chiffres clés encadr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5" name="Espace réservé du pied de page 14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Titre de la présentation - 00/00/00     Classification : </a:t>
            </a:r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cxnSp>
        <p:nvCxnSpPr>
          <p:cNvPr id="20" name="Connecteur droit 19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12984" y="1757064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903814" y="1757064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112984" y="3410400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903814" y="3410400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14" name="Rectangle 13"/>
          <p:cNvSpPr/>
          <p:nvPr userDrawn="1"/>
        </p:nvSpPr>
        <p:spPr bwMode="gray">
          <a:xfrm>
            <a:off x="4874400" y="1306264"/>
            <a:ext cx="37296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69913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graphiqu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583130" y="1242000"/>
            <a:ext cx="3600000" cy="4104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Titre de la présentation - 00/00/00     Classification : 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cxnSp>
        <p:nvCxnSpPr>
          <p:cNvPr id="17" name="Connecteur droit 16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280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336890" y="4088698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126964" y="4088698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179244043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graphiqu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583130" y="1242000"/>
            <a:ext cx="3780000" cy="4176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Titre de la présentation - 00/00/00     Classification : 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cxnSp>
        <p:nvCxnSpPr>
          <p:cNvPr id="17" name="Connecteur droit 16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316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336890" y="4463150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126964" y="4463150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36915226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540000" y="2420888"/>
            <a:ext cx="36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13" name="Espace réservé du graphique 16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5004000" y="2420888"/>
            <a:ext cx="36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Titre de la présentation - 00/00/00     Classification : </a:t>
            </a:r>
          </a:p>
        </p:txBody>
      </p:sp>
      <p:sp>
        <p:nvSpPr>
          <p:cNvPr id="16" name="Espace réservé du numéro de diapositive 15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cxnSp>
        <p:nvCxnSpPr>
          <p:cNvPr id="18" name="Connecteur droit 17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40000" y="1242000"/>
            <a:ext cx="4104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860000" y="1242000"/>
            <a:ext cx="3744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058800"/>
            <a:ext cx="2016000" cy="5760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0537615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>
                <a:solidFill>
                  <a:srgbClr val="6AB732"/>
                </a:solidFill>
              </a:rPr>
              <a:t>Ni</a:t>
            </a:r>
            <a:endParaRPr lang="fr-FR" sz="1600" b="1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03600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Prénom NOM</a:t>
            </a:r>
          </a:p>
          <a:p>
            <a:pPr lvl="1"/>
            <a:r>
              <a:rPr lang="fr-FR"/>
              <a:t>Fonction</a:t>
            </a:r>
          </a:p>
          <a:p>
            <a:pPr lvl="2"/>
            <a:r>
              <a:rPr lang="fr-FR"/>
              <a:t>prenom.nom@erametgroup.com</a:t>
            </a:r>
          </a:p>
          <a:p>
            <a:pPr lvl="3"/>
            <a:r>
              <a:rPr lang="fr-FR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47752" y="5968402"/>
            <a:ext cx="1575284" cy="64800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5339" y="5981782"/>
            <a:ext cx="1427796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49166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Prénom NOM</a:t>
            </a:r>
          </a:p>
          <a:p>
            <a:pPr lvl="1"/>
            <a:r>
              <a:rPr lang="fr-FR"/>
              <a:t>Fonction</a:t>
            </a:r>
          </a:p>
          <a:p>
            <a:pPr lvl="2"/>
            <a:r>
              <a:rPr lang="fr-FR"/>
              <a:t>prenom.nom@erametgroup.com</a:t>
            </a:r>
          </a:p>
          <a:p>
            <a:pPr lvl="3"/>
            <a:r>
              <a:rPr lang="fr-FR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/>
              <a:t>contacts</a:t>
            </a: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47752" y="5968402"/>
            <a:ext cx="1575284" cy="648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5339" y="5981782"/>
            <a:ext cx="1427796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57904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Prénom NOM</a:t>
            </a:r>
          </a:p>
          <a:p>
            <a:pPr lvl="1"/>
            <a:r>
              <a:rPr lang="fr-FR"/>
              <a:t>Fonction</a:t>
            </a:r>
          </a:p>
          <a:p>
            <a:pPr lvl="2"/>
            <a:r>
              <a:rPr lang="fr-FR"/>
              <a:t>prenom.nom@erametgroup.com</a:t>
            </a:r>
          </a:p>
          <a:p>
            <a:pPr lvl="3"/>
            <a:r>
              <a:rPr lang="fr-FR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/>
              <a:t>contacts</a:t>
            </a:r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47752" y="5968402"/>
            <a:ext cx="1575283" cy="6480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3347864" y="2204864"/>
            <a:ext cx="2629322" cy="1063294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46362996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 A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690712" y="5547712"/>
            <a:ext cx="1925347" cy="792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474" y="2559571"/>
            <a:ext cx="198305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65539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 B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690712" y="5547712"/>
            <a:ext cx="1925347" cy="79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474" y="2559571"/>
            <a:ext cx="198305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991815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690712" y="5547712"/>
            <a:ext cx="1925346" cy="7920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475" y="2559571"/>
            <a:ext cx="198305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65221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Prénom Nom</a:t>
            </a:r>
          </a:p>
          <a:p>
            <a:pPr lvl="1"/>
            <a:r>
              <a:rPr lang="fr-FR"/>
              <a:t>Fonction</a:t>
            </a:r>
          </a:p>
          <a:p>
            <a:pPr lvl="2"/>
            <a:r>
              <a:rPr lang="fr-FR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NPX, Mai 2019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565374" y="494312"/>
            <a:ext cx="3063051" cy="12600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7635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36000" y="1260134"/>
            <a:ext cx="36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NPX, Mai 2019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1266" y="167563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36000" y="167563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1266" y="2425088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36000" y="2425088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41266" y="3174546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36000" y="3174546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41266" y="3924003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36000" y="3924003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41266" y="467346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936000" y="467346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581722" y="167563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076456" y="167563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581722" y="2425088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76456" y="2425088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581722" y="3174546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076456" y="3174546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581722" y="3924003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5076456" y="3924003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581722" y="467346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76456" y="467346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5076456" y="5445224"/>
            <a:ext cx="36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47079149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NPX, Mai 2019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88527099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8" name="Connecteur droit 7"/>
          <p:cNvCxnSpPr/>
          <p:nvPr userDrawn="1"/>
        </p:nvCxnSpPr>
        <p:spPr bwMode="gray">
          <a:xfrm>
            <a:off x="540000" y="972102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40000" y="1242000"/>
            <a:ext cx="806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NPX, Mai 2019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7476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</a:t>
            </a:r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lorem ipsum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>
                <a:solidFill>
                  <a:srgbClr val="6AB732"/>
                </a:solidFill>
              </a:rPr>
              <a:t>Ni</a:t>
            </a:r>
            <a:endParaRPr lang="fr-FR" sz="1600" b="1">
              <a:solidFill>
                <a:srgbClr val="6AB732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96929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NPX, Mai 2019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cxnSp>
        <p:nvCxnSpPr>
          <p:cNvPr id="13" name="Connecteur droit 12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2813647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NPX, Mai 2019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89336" y="2206800"/>
            <a:ext cx="3063051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969734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Prénom Nom</a:t>
            </a:r>
          </a:p>
          <a:p>
            <a:pPr lvl="1"/>
            <a:r>
              <a:rPr lang="fr-FR"/>
              <a:t>Fonction</a:t>
            </a:r>
          </a:p>
          <a:p>
            <a:pPr lvl="2"/>
            <a:r>
              <a:rPr lang="fr-FR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565374" y="494312"/>
            <a:ext cx="3063050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855655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bg1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Prénom Nom</a:t>
            </a:r>
          </a:p>
          <a:p>
            <a:pPr lvl="1"/>
            <a:r>
              <a:rPr lang="fr-FR"/>
              <a:t>Fonction</a:t>
            </a:r>
          </a:p>
          <a:p>
            <a:pPr lvl="2"/>
            <a:r>
              <a:rPr lang="fr-FR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565374" y="494312"/>
            <a:ext cx="3063050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3180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999" y="4402124"/>
            <a:ext cx="54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Prénom Nom</a:t>
            </a:r>
          </a:p>
          <a:p>
            <a:pPr lvl="1"/>
            <a:r>
              <a:rPr lang="fr-FR"/>
              <a:t>Fonction</a:t>
            </a:r>
          </a:p>
          <a:p>
            <a:pPr lvl="2"/>
            <a:r>
              <a:rPr lang="fr-FR"/>
              <a:t>date</a:t>
            </a:r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539999" y="2657915"/>
            <a:ext cx="54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/>
              <a:t>Modifiez le style du titre</a:t>
            </a:r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565374" y="494312"/>
            <a:ext cx="3063051" cy="12600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43480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36000" y="1260134"/>
            <a:ext cx="36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9" name="Connecteur droit 28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1266" y="167563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33" name="Espace réservé du texte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36000" y="167563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1266" y="2425088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36000" y="2425088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41266" y="3174546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30" name="Espace réservé du texte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36000" y="3174546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41266" y="3924003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39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36000" y="3924003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49" name="Espace réservé du texte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41266" y="467346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0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936000" y="467346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1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581722" y="167563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2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076456" y="167563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581722" y="2425088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4" name="Espace réservé du texte 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76456" y="2425088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5" name="Espace réservé du texte 4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581722" y="3174546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6" name="Espace réservé du texte 4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076456" y="3174546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7" name="Espace réservé du texte 4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581722" y="3924003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58" name="Espace réservé du texte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5076456" y="3924003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59" name="Espace réservé du texte 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581722" y="4673460"/>
            <a:ext cx="476282" cy="648000"/>
          </a:xfrm>
        </p:spPr>
        <p:txBody>
          <a:bodyPr/>
          <a:lstStyle>
            <a:lvl1pPr algn="r">
              <a:lnSpc>
                <a:spcPct val="95000"/>
              </a:lnSpc>
              <a:spcAft>
                <a:spcPts val="0"/>
              </a:spcAft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OO -</a:t>
            </a:r>
          </a:p>
        </p:txBody>
      </p:sp>
      <p:sp>
        <p:nvSpPr>
          <p:cNvPr id="60" name="Espace réservé du texte 4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76456" y="4673460"/>
            <a:ext cx="3600000" cy="648000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noProof="0"/>
              <a:t>Titr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61" name="Espace réservé du texte 4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5076456" y="5445224"/>
            <a:ext cx="3600000" cy="360127"/>
          </a:xfrm>
        </p:spPr>
        <p:txBody>
          <a:bodyPr/>
          <a:lstStyle>
            <a:lvl1pPr>
              <a:lnSpc>
                <a:spcPct val="95000"/>
              </a:lnSpc>
              <a:spcAft>
                <a:spcPts val="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27856772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A">
    <p:bg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740352" y="6201308"/>
            <a:ext cx="1006985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56710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740352" y="6201308"/>
            <a:ext cx="1006985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69654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012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tx2"/>
                </a:solidFill>
              </a:defRPr>
            </a:lvl1pPr>
            <a:lvl2pPr marL="0" indent="0">
              <a:buNone/>
              <a:defRPr sz="22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08984688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visue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0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Sélectionner l’icône pour insérer une image, </a:t>
            </a:r>
            <a:br>
              <a:rPr lang="fr-FR" noProof="0"/>
            </a:br>
            <a:r>
              <a:rPr lang="fr-FR" noProof="0"/>
              <a:t>puis disposer l’image en arrière plan </a:t>
            </a:r>
            <a:br>
              <a:rPr lang="fr-FR" noProof="0"/>
            </a:br>
            <a:r>
              <a:rPr lang="fr-FR" noProof="0"/>
              <a:t>(Sélectionner l’image avec le bouton droit de la souris / </a:t>
            </a:r>
            <a:br>
              <a:rPr lang="fr-FR" noProof="0"/>
            </a:br>
            <a:r>
              <a:rPr lang="fr-FR" noProof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41659665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1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ITRE DE LA PARTIE SUR PLUSIEURS LIGNES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SOUS-TITRE DE LA PARTIE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18" name="Oval 17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1" name="Picture 20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2" name="Oval 21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>
                <a:solidFill>
                  <a:srgbClr val="DB001A"/>
                </a:solidFill>
              </a:rPr>
              <a:t>Lithium</a:t>
            </a:r>
          </a:p>
        </p:txBody>
      </p:sp>
      <p:pic>
        <p:nvPicPr>
          <p:cNvPr id="23" name="Picture 22" descr="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597" y="2833590"/>
            <a:ext cx="2852738" cy="2846642"/>
          </a:xfrm>
          <a:prstGeom prst="rect">
            <a:avLst/>
          </a:prstGeom>
        </p:spPr>
      </p:pic>
      <p:sp>
        <p:nvSpPr>
          <p:cNvPr id="2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2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2123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</a:t>
            </a:r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>
                <a:solidFill>
                  <a:srgbClr val="6AB732"/>
                </a:solidFill>
              </a:rPr>
              <a:t>Ni</a:t>
            </a:r>
            <a:endParaRPr lang="fr-FR" sz="1600" b="1">
              <a:solidFill>
                <a:srgbClr val="6AB732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23986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visue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2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0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Sélectionner l’icône pour insérer une image, </a:t>
            </a:r>
            <a:br>
              <a:rPr lang="fr-FR" noProof="0"/>
            </a:br>
            <a:r>
              <a:rPr lang="fr-FR" noProof="0"/>
              <a:t>puis disposer l’image en arrière plan </a:t>
            </a:r>
            <a:br>
              <a:rPr lang="fr-FR" noProof="0"/>
            </a:br>
            <a:r>
              <a:rPr lang="fr-FR" noProof="0"/>
              <a:t>(Sélectionner l’image avec le bouton droit de la souris / </a:t>
            </a:r>
            <a:br>
              <a:rPr lang="fr-FR" noProof="0"/>
            </a:br>
            <a:r>
              <a:rPr lang="fr-FR" noProof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88518987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visuel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0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Sélectionner l’icône pour insérer une image, </a:t>
            </a:r>
            <a:br>
              <a:rPr lang="fr-FR" noProof="0"/>
            </a:br>
            <a:r>
              <a:rPr lang="fr-FR" noProof="0"/>
              <a:t>puis disposer l’image en arrière plan </a:t>
            </a:r>
            <a:br>
              <a:rPr lang="fr-FR" noProof="0"/>
            </a:br>
            <a:r>
              <a:rPr lang="fr-FR" noProof="0"/>
              <a:t>(Sélectionner l’image avec le bouton droit de la souris / </a:t>
            </a:r>
            <a:br>
              <a:rPr lang="fr-FR" noProof="0"/>
            </a:br>
            <a:r>
              <a:rPr lang="fr-FR" noProof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1995633375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visuel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3125272"/>
            <a:ext cx="9144000" cy="3732728"/>
          </a:xfrm>
          <a:custGeom>
            <a:avLst/>
            <a:gdLst>
              <a:gd name="connsiteX0" fmla="*/ 9135185 w 9144000"/>
              <a:gd name="connsiteY0" fmla="*/ 0 h 3732728"/>
              <a:gd name="connsiteX1" fmla="*/ 9144000 w 9144000"/>
              <a:gd name="connsiteY1" fmla="*/ 0 h 3732728"/>
              <a:gd name="connsiteX2" fmla="*/ 9144000 w 9144000"/>
              <a:gd name="connsiteY2" fmla="*/ 43810 h 3732728"/>
              <a:gd name="connsiteX3" fmla="*/ 9144000 w 9144000"/>
              <a:gd name="connsiteY3" fmla="*/ 756192 h 3732728"/>
              <a:gd name="connsiteX4" fmla="*/ 9144000 w 9144000"/>
              <a:gd name="connsiteY4" fmla="*/ 803939 h 3732728"/>
              <a:gd name="connsiteX5" fmla="*/ 3897084 w 9144000"/>
              <a:gd name="connsiteY5" fmla="*/ 3732728 h 3732728"/>
              <a:gd name="connsiteX6" fmla="*/ 3826591 w 9144000"/>
              <a:gd name="connsiteY6" fmla="*/ 3732728 h 3732728"/>
              <a:gd name="connsiteX7" fmla="*/ 0 w 9144000"/>
              <a:gd name="connsiteY7" fmla="*/ 3732728 h 3732728"/>
              <a:gd name="connsiteX8" fmla="*/ 0 w 9144000"/>
              <a:gd name="connsiteY8" fmla="*/ 3505453 h 3732728"/>
              <a:gd name="connsiteX9" fmla="*/ 0 w 9144000"/>
              <a:gd name="connsiteY9" fmla="*/ 3458661 h 3732728"/>
              <a:gd name="connsiteX10" fmla="*/ 3770388 w 9144000"/>
              <a:gd name="connsiteY10" fmla="*/ 2026257 h 3732728"/>
              <a:gd name="connsiteX11" fmla="*/ 5354561 w 9144000"/>
              <a:gd name="connsiteY11" fmla="*/ 1171590 h 3732728"/>
              <a:gd name="connsiteX12" fmla="*/ 8665280 w 9144000"/>
              <a:gd name="connsiteY12" fmla="*/ 57149 h 373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0" h="3732728">
                <a:moveTo>
                  <a:pt x="9135185" y="0"/>
                </a:moveTo>
                <a:lnTo>
                  <a:pt x="9144000" y="0"/>
                </a:lnTo>
                <a:lnTo>
                  <a:pt x="9144000" y="43810"/>
                </a:lnTo>
                <a:lnTo>
                  <a:pt x="9144000" y="756192"/>
                </a:lnTo>
                <a:lnTo>
                  <a:pt x="9144000" y="803939"/>
                </a:lnTo>
                <a:cubicBezTo>
                  <a:pt x="6831089" y="1447566"/>
                  <a:pt x="4991620" y="2820764"/>
                  <a:pt x="3897084" y="3732728"/>
                </a:cubicBezTo>
                <a:lnTo>
                  <a:pt x="3826591" y="3732728"/>
                </a:lnTo>
                <a:lnTo>
                  <a:pt x="0" y="3732728"/>
                </a:lnTo>
                <a:lnTo>
                  <a:pt x="0" y="3505453"/>
                </a:lnTo>
                <a:lnTo>
                  <a:pt x="0" y="3458661"/>
                </a:lnTo>
                <a:cubicBezTo>
                  <a:pt x="1086916" y="3490174"/>
                  <a:pt x="1899483" y="3047084"/>
                  <a:pt x="3770388" y="2026257"/>
                </a:cubicBezTo>
                <a:cubicBezTo>
                  <a:pt x="4230493" y="1776064"/>
                  <a:pt x="4750613" y="1492448"/>
                  <a:pt x="5354561" y="1171590"/>
                </a:cubicBezTo>
                <a:cubicBezTo>
                  <a:pt x="6439809" y="595883"/>
                  <a:pt x="7549126" y="222697"/>
                  <a:pt x="8665280" y="571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 bwMode="gray">
          <a:xfrm>
            <a:off x="5156772" y="184872"/>
            <a:ext cx="3732790" cy="1872208"/>
          </a:xfrm>
        </p:spPr>
        <p:txBody>
          <a:bodyPr/>
          <a:lstStyle>
            <a:lvl1pPr algn="r">
              <a:defRPr sz="12400" b="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OO</a:t>
            </a:r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7"/>
          </p:nvPr>
        </p:nvSpPr>
        <p:spPr bwMode="gray">
          <a:xfrm>
            <a:off x="540000" y="2631600"/>
            <a:ext cx="5220000" cy="3095625"/>
          </a:xfrm>
        </p:spPr>
        <p:txBody>
          <a:bodyPr/>
          <a:lstStyle>
            <a:lvl1pPr>
              <a:lnSpc>
                <a:spcPct val="90000"/>
              </a:lnSpc>
              <a:spcAft>
                <a:spcPts val="1700"/>
              </a:spcAft>
              <a:defRPr sz="2800">
                <a:solidFill>
                  <a:schemeClr val="bg1"/>
                </a:solidFill>
              </a:defRPr>
            </a:lvl1pPr>
            <a:lvl2pPr marL="0" indent="0"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40000" y="6202800"/>
            <a:ext cx="1008000" cy="432000"/>
          </a:xfr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anchor="ctr" anchorCtr="0"/>
          <a:lstStyle>
            <a:lvl1pPr algn="ctr">
              <a:defRPr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-10633" y="-10633"/>
            <a:ext cx="3576638" cy="1735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tIns="12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Sélectionner l’icône pour insérer une image, </a:t>
            </a:r>
            <a:br>
              <a:rPr lang="fr-FR" noProof="0"/>
            </a:br>
            <a:r>
              <a:rPr lang="fr-FR" noProof="0"/>
              <a:t>puis disposer l’image en arrière plan </a:t>
            </a:r>
            <a:br>
              <a:rPr lang="fr-FR" noProof="0"/>
            </a:br>
            <a:r>
              <a:rPr lang="fr-FR" noProof="0"/>
              <a:t>(Sélectionner l’image avec le bouton droit de la souris / </a:t>
            </a:r>
            <a:br>
              <a:rPr lang="fr-FR" noProof="0"/>
            </a:br>
            <a:r>
              <a:rPr lang="fr-FR" noProof="0"/>
              <a:t>Mettre à l’arrière plan)</a:t>
            </a:r>
          </a:p>
        </p:txBody>
      </p:sp>
    </p:spTree>
    <p:extLst>
      <p:ext uri="{BB962C8B-B14F-4D97-AF65-F5344CB8AC3E}">
        <p14:creationId xmlns:p14="http://schemas.microsoft.com/office/powerpoint/2010/main" val="57157382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8" name="Connecteur droit 7"/>
          <p:cNvCxnSpPr/>
          <p:nvPr userDrawn="1"/>
        </p:nvCxnSpPr>
        <p:spPr bwMode="gray">
          <a:xfrm>
            <a:off x="540000" y="972102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40000" y="1242000"/>
            <a:ext cx="806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7688721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3" name="Connecteur droit 12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38945264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0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540000" y="1291282"/>
            <a:ext cx="4032000" cy="3924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Sélectionner l’icône pour insérer une imag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7" name="Connecteur droit 16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882"/>
            <a:ext cx="3744000" cy="3060000"/>
          </a:xfrm>
        </p:spPr>
        <p:txBody>
          <a:bodyPr/>
          <a:lstStyle>
            <a:lvl5pPr marL="712800" indent="-266400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336890" y="4347852"/>
            <a:ext cx="162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0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126964" y="4347852"/>
            <a:ext cx="1620000" cy="972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</p:spTree>
    <p:extLst>
      <p:ext uri="{BB962C8B-B14F-4D97-AF65-F5344CB8AC3E}">
        <p14:creationId xmlns:p14="http://schemas.microsoft.com/office/powerpoint/2010/main" val="2082376464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texte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4874400" y="1306264"/>
            <a:ext cx="37296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8"/>
          </p:nvPr>
        </p:nvSpPr>
        <p:spPr bwMode="gray">
          <a:xfrm>
            <a:off x="4874400" y="1306264"/>
            <a:ext cx="3730075" cy="3762000"/>
          </a:xfrm>
          <a:ln w="22225">
            <a:noFill/>
            <a:miter lim="800000"/>
          </a:ln>
        </p:spPr>
        <p:txBody>
          <a:bodyPr lIns="216000" tIns="216000" rIns="108000"/>
          <a:lstStyle>
            <a:lvl1pPr marL="3600">
              <a:lnSpc>
                <a:spcPct val="97000"/>
              </a:lnSpc>
              <a:spcAft>
                <a:spcPts val="0"/>
              </a:spcAft>
              <a:defRPr sz="1200" baseline="0"/>
            </a:lvl1pPr>
            <a:lvl2pPr marL="0" indent="0">
              <a:lnSpc>
                <a:spcPct val="97000"/>
              </a:lnSpc>
              <a:spcBef>
                <a:spcPts val="0"/>
              </a:spcBef>
              <a:buNone/>
              <a:tabLst>
                <a:tab pos="0" algn="l"/>
              </a:tabLst>
              <a:defRPr b="0">
                <a:solidFill>
                  <a:schemeClr val="accent2"/>
                </a:solidFill>
              </a:defRPr>
            </a:lvl2pPr>
            <a:lvl3pPr marL="3175" indent="0">
              <a:buFont typeface="Arial" pitchFamily="34" charset="0"/>
              <a:buNone/>
              <a:defRPr/>
            </a:lvl3pPr>
            <a:lvl4pPr marL="4762" indent="0">
              <a:buNone/>
              <a:defRPr/>
            </a:lvl4pPr>
            <a:lvl5pPr marL="3175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7" name="Connecteur droit 16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31050694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chiffres clés encadr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15" name="Espace réservé du pied de page 14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20" name="Connecteur droit 19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1242000"/>
            <a:ext cx="4104000" cy="4860000"/>
          </a:xfrm>
        </p:spPr>
        <p:txBody>
          <a:bodyPr/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12984" y="1757064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903814" y="1757064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7" name="Espace réservé du texte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112984" y="3410400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903814" y="3410400"/>
            <a:ext cx="1620000" cy="1620000"/>
          </a:xfrm>
        </p:spPr>
        <p:txBody>
          <a:bodyPr/>
          <a:lstStyle>
            <a:lvl1pPr>
              <a:spcAft>
                <a:spcPts val="20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14" name="Rectangle 13"/>
          <p:cNvSpPr/>
          <p:nvPr userDrawn="1"/>
        </p:nvSpPr>
        <p:spPr bwMode="gray">
          <a:xfrm>
            <a:off x="4874400" y="1306264"/>
            <a:ext cx="3729600" cy="3762000"/>
          </a:xfrm>
          <a:prstGeom prst="rect">
            <a:avLst/>
          </a:prstGeom>
          <a:noFill/>
          <a:ln w="12700">
            <a:gradFill flip="none" rotWithShape="1">
              <a:gsLst>
                <a:gs pos="37000">
                  <a:schemeClr val="accent2"/>
                </a:gs>
                <a:gs pos="0">
                  <a:schemeClr val="accent1"/>
                </a:gs>
                <a:gs pos="63000">
                  <a:schemeClr val="accent3"/>
                </a:gs>
                <a:gs pos="100000">
                  <a:schemeClr val="accent4"/>
                </a:gs>
              </a:gsLst>
              <a:lin ang="0" scaled="1"/>
              <a:tileRect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13519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graphiqu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583130" y="1242000"/>
            <a:ext cx="3600000" cy="4104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7" name="Connecteur droit 16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280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336890" y="4088698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126964" y="4088698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75136311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graphiqu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583130" y="1242000"/>
            <a:ext cx="3780000" cy="4176000"/>
          </a:xfrm>
        </p:spPr>
        <p:txBody>
          <a:bodyPr tIns="900000" anchor="ctr" anchorCtr="0"/>
          <a:lstStyle>
            <a:lvl1pPr marL="0" indent="0" algn="ctr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7" name="Connecteur droit 16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60000" y="1242000"/>
            <a:ext cx="3744000" cy="3168000"/>
          </a:xfrm>
        </p:spPr>
        <p:txBody>
          <a:bodyPr/>
          <a:lstStyle>
            <a:lvl5pPr marL="712788" indent="-265113">
              <a:defRPr/>
            </a:lvl5pPr>
            <a:lvl6pPr marL="900000" indent="-180975">
              <a:defRPr/>
            </a:lvl6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336890" y="4463150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126964" y="4463150"/>
            <a:ext cx="1620000" cy="1440000"/>
          </a:xfrm>
        </p:spPr>
        <p:txBody>
          <a:bodyPr/>
          <a:lstStyle>
            <a:lvl1pPr>
              <a:spcAft>
                <a:spcPts val="0"/>
              </a:spcAft>
              <a:defRPr sz="3500"/>
            </a:lvl1pPr>
            <a:lvl2pPr marL="0" indent="0">
              <a:spcBef>
                <a:spcPts val="0"/>
              </a:spcBef>
              <a:buNone/>
              <a:defRPr sz="1200" b="0"/>
            </a:lvl2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16379733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>
                <a:solidFill>
                  <a:srgbClr val="6AB732"/>
                </a:solidFill>
              </a:rPr>
              <a:t>Ni</a:t>
            </a:r>
            <a:endParaRPr lang="fr-FR" sz="1600" b="1">
              <a:solidFill>
                <a:srgbClr val="6AB732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/>
              <a:t>INSÉRER GRAPHIQUE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45419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graphique 16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540000" y="2420888"/>
            <a:ext cx="36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13" name="Espace réservé du graphique 16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5004000" y="2420888"/>
            <a:ext cx="3600000" cy="3348000"/>
          </a:xfrm>
        </p:spPr>
        <p:txBody>
          <a:bodyPr tIns="900000"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fr-FR" noProof="0"/>
              <a:t>Sélectionner l’icône pour insérer un graphiqu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16" name="Espace réservé du numéro de diapositive 15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8" name="Connecteur droit 17"/>
          <p:cNvCxnSpPr/>
          <p:nvPr userDrawn="1"/>
        </p:nvCxnSpPr>
        <p:spPr bwMode="gray">
          <a:xfrm>
            <a:off x="540000" y="972000"/>
            <a:ext cx="403200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63000">
                  <a:schemeClr val="accent3"/>
                </a:gs>
                <a:gs pos="37000">
                  <a:schemeClr val="accent2"/>
                </a:gs>
                <a:gs pos="100000">
                  <a:schemeClr val="accent4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40000" y="1242000"/>
            <a:ext cx="4104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860000" y="1242000"/>
            <a:ext cx="3744000" cy="1188000"/>
          </a:xfrm>
        </p:spPr>
        <p:txBody>
          <a:bodyPr/>
          <a:lstStyle>
            <a:lvl5pPr marL="446400" indent="-266400"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91980" y="6192682"/>
            <a:ext cx="3240000" cy="439200"/>
          </a:xfrm>
        </p:spPr>
        <p:txBody>
          <a:bodyPr anchor="b" anchorCtr="0"/>
          <a:lstStyle>
            <a:lvl1pPr>
              <a:defRPr sz="7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*Note de bas de p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68694521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C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Prénom NOM</a:t>
            </a:r>
          </a:p>
          <a:p>
            <a:pPr lvl="1"/>
            <a:r>
              <a:rPr lang="fr-FR"/>
              <a:t>Fonction</a:t>
            </a:r>
          </a:p>
          <a:p>
            <a:pPr lvl="2"/>
            <a:r>
              <a:rPr lang="fr-FR"/>
              <a:t>prenom.nom@erametgroup.com</a:t>
            </a:r>
          </a:p>
          <a:p>
            <a:pPr lvl="3"/>
            <a:r>
              <a:rPr lang="fr-FR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685603" y="5542604"/>
            <a:ext cx="1925343" cy="791998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57334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D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Prénom NOM</a:t>
            </a:r>
          </a:p>
          <a:p>
            <a:pPr lvl="1"/>
            <a:r>
              <a:rPr lang="fr-FR"/>
              <a:t>Fonction</a:t>
            </a:r>
          </a:p>
          <a:p>
            <a:pPr lvl="2"/>
            <a:r>
              <a:rPr lang="fr-FR"/>
              <a:t>prenom.nom@erametgroup.com</a:t>
            </a:r>
          </a:p>
          <a:p>
            <a:pPr lvl="3"/>
            <a:r>
              <a:rPr lang="fr-FR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685603" y="5542604"/>
            <a:ext cx="1925343" cy="791998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802593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13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2960948"/>
            <a:ext cx="3420000" cy="2016000"/>
          </a:xfrm>
        </p:spPr>
        <p:txBody>
          <a:bodyPr/>
          <a:lstStyle>
            <a:lvl1pPr marL="0" indent="0" algn="l">
              <a:spcBef>
                <a:spcPts val="1600"/>
              </a:spcBef>
              <a:spcAft>
                <a:spcPts val="0"/>
              </a:spcAft>
              <a:buNone/>
              <a:defRPr sz="1350" cap="none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350" b="1" cap="all" baseline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350" b="0" cap="none" baseline="0">
                <a:solidFill>
                  <a:schemeClr val="tx2"/>
                </a:solidFill>
              </a:defRPr>
            </a:lvl3pPr>
            <a:lvl4pPr marL="0" indent="0" algn="l">
              <a:spcBef>
                <a:spcPts val="2400"/>
              </a:spcBef>
              <a:buNone/>
              <a:defRPr sz="1600" b="1" baseline="0">
                <a:solidFill>
                  <a:schemeClr val="accent2"/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Prénom NOM</a:t>
            </a:r>
          </a:p>
          <a:p>
            <a:pPr lvl="1"/>
            <a:r>
              <a:rPr lang="fr-FR"/>
              <a:t>Fonction</a:t>
            </a:r>
          </a:p>
          <a:p>
            <a:pPr lvl="2"/>
            <a:r>
              <a:rPr lang="fr-FR"/>
              <a:t>prenom.nom@erametgroup.com</a:t>
            </a:r>
          </a:p>
          <a:p>
            <a:pPr lvl="3"/>
            <a:r>
              <a:rPr lang="fr-FR"/>
              <a:t>Adresse interne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Titre 10"/>
          <p:cNvSpPr>
            <a:spLocks noGrp="1"/>
          </p:cNvSpPr>
          <p:nvPr>
            <p:ph type="title" hasCustomPrompt="1"/>
          </p:nvPr>
        </p:nvSpPr>
        <p:spPr bwMode="gray">
          <a:xfrm>
            <a:off x="540000" y="2125940"/>
            <a:ext cx="3420000" cy="774000"/>
          </a:xfrm>
        </p:spPr>
        <p:txBody>
          <a:bodyPr/>
          <a:lstStyle>
            <a:lvl1pPr>
              <a:lnSpc>
                <a:spcPct val="100000"/>
              </a:lnSpc>
              <a:defRPr sz="1600" cap="all" baseline="0">
                <a:solidFill>
                  <a:schemeClr val="accent3"/>
                </a:solidFill>
              </a:defRPr>
            </a:lvl1pPr>
          </a:lstStyle>
          <a:p>
            <a:r>
              <a:rPr lang="fr-FR"/>
              <a:t>contacts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685603" y="5542603"/>
            <a:ext cx="1925343" cy="7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24475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 C">
    <p:bg bwMode="gray">
      <p:bgPr>
        <a:solidFill>
          <a:srgbClr val="182C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89336" y="2206800"/>
            <a:ext cx="3063050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796845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 D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89336" y="2206800"/>
            <a:ext cx="3063050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61564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18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89336" y="2206800"/>
            <a:ext cx="3063051" cy="1260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3599998" cy="1764944"/>
          </a:xfrm>
          <a:prstGeom prst="rect">
            <a:avLst/>
          </a:prstGeom>
        </p:spPr>
      </p:pic>
      <p:sp>
        <p:nvSpPr>
          <p:cNvPr id="11" name="Freeform 9"/>
          <p:cNvSpPr>
            <a:spLocks/>
          </p:cNvSpPr>
          <p:nvPr userDrawn="1"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85831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>
                <a:solidFill>
                  <a:srgbClr val="6AB732"/>
                </a:solidFill>
              </a:rPr>
              <a:t>Ni</a:t>
            </a:r>
            <a:endParaRPr lang="fr-FR" sz="1600" b="1">
              <a:solidFill>
                <a:srgbClr val="6AB732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/>
              <a:t>INSÉRER TABLEAU</a:t>
            </a:r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/>
              <a:t>Insérer une légende</a:t>
            </a:r>
          </a:p>
          <a:p>
            <a:endParaRPr lang="fr-FR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2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83186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51658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3</a:t>
            </a:r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ITRE DE LA PARTIE SUR PLUSIEURS LIGNES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2049843" y="3980457"/>
            <a:ext cx="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21B3EF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SOUS-TITRE DE LA PARTI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1358561" y="4709051"/>
            <a:ext cx="1382563" cy="1382563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2423629" y="4486910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>
                <a:solidFill>
                  <a:srgbClr val="21B3EF"/>
                </a:solidFill>
              </a:rPr>
              <a:t>Mn</a:t>
            </a:r>
            <a:endParaRPr lang="fr-FR" sz="3600" b="1">
              <a:solidFill>
                <a:srgbClr val="21B3EF"/>
              </a:solidFill>
            </a:endParaRPr>
          </a:p>
        </p:txBody>
      </p:sp>
      <p:pic>
        <p:nvPicPr>
          <p:cNvPr id="17" name="Picture 16" descr="5-r70.png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544" y="1023219"/>
            <a:ext cx="2834451" cy="2834451"/>
          </a:xfrm>
          <a:prstGeom prst="rect">
            <a:avLst/>
          </a:prstGeom>
        </p:spPr>
      </p:pic>
      <p:sp>
        <p:nvSpPr>
          <p:cNvPr id="1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1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7120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21B3EF"/>
                </a:solidFill>
              </a:rPr>
              <a:t>Mn</a:t>
            </a:r>
            <a:endParaRPr lang="fr-FR" sz="1600" b="1">
              <a:solidFill>
                <a:srgbClr val="21B3EF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/>
              <a:t>TITRE DE LA PAGE SUR DEUX LIGNES MAXIMUM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0383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IMUM</a:t>
            </a:r>
            <a:endParaRPr lang="fr-FR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exte ou chiffre clé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21B3EF"/>
                </a:solidFill>
              </a:rPr>
              <a:t>Mn</a:t>
            </a:r>
            <a:endParaRPr lang="fr-FR" sz="1600" b="1">
              <a:solidFill>
                <a:srgbClr val="21B3EF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440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IMUM</a:t>
            </a:r>
            <a:endParaRPr lang="fr-FR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21B3EF"/>
                </a:solidFill>
              </a:rPr>
              <a:t>Mn</a:t>
            </a:r>
            <a:endParaRPr lang="fr-FR" sz="1600" b="1">
              <a:solidFill>
                <a:srgbClr val="21B3EF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9800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DEUX LIGNES MAXIMUM</a:t>
            </a:r>
            <a:endParaRPr lang="fr-FR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21B3EF"/>
                </a:solidFill>
              </a:rPr>
              <a:t>Mn</a:t>
            </a:r>
            <a:endParaRPr lang="fr-FR" sz="1600" b="1">
              <a:solidFill>
                <a:srgbClr val="21B3EF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8751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21B3EF"/>
                </a:solidFill>
              </a:rPr>
              <a:t>Mn</a:t>
            </a:r>
            <a:endParaRPr lang="fr-FR" sz="1600" b="1">
              <a:solidFill>
                <a:srgbClr val="21B3EF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5895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/>
              <a:t>TITRE DE LA PAGE SUR DEUX LIGNES MAXIMUM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>
                <a:solidFill>
                  <a:srgbClr val="DB001A"/>
                </a:solidFill>
              </a:rPr>
              <a:t>Groupe</a:t>
            </a:r>
            <a:endParaRPr lang="fr-FR" sz="1000" b="1">
              <a:solidFill>
                <a:srgbClr val="DB001A"/>
              </a:solidFill>
            </a:endParaRP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88694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</a:t>
            </a:r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lorem ipsum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21B3EF"/>
                </a:solidFill>
              </a:rPr>
              <a:t>Mn</a:t>
            </a:r>
            <a:endParaRPr lang="fr-FR" sz="1600" b="1">
              <a:solidFill>
                <a:srgbClr val="21B3EF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3497923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</a:t>
            </a:r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21B3EF"/>
                </a:solidFill>
              </a:rPr>
              <a:t>Mn</a:t>
            </a:r>
            <a:endParaRPr lang="fr-FR" sz="1600" b="1">
              <a:solidFill>
                <a:srgbClr val="21B3EF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31457694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21B3EF"/>
                </a:solidFill>
              </a:rPr>
              <a:t>Mn</a:t>
            </a:r>
            <a:endParaRPr lang="fr-FR" sz="1600" b="1">
              <a:solidFill>
                <a:srgbClr val="21B3EF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/>
              <a:t>INSÉRER GRAPHIQUE</a:t>
            </a:r>
          </a:p>
        </p:txBody>
      </p:sp>
    </p:spTree>
    <p:extLst>
      <p:ext uri="{BB962C8B-B14F-4D97-AF65-F5344CB8AC3E}">
        <p14:creationId xmlns:p14="http://schemas.microsoft.com/office/powerpoint/2010/main" val="39370245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21B3EF"/>
                </a:solidFill>
              </a:rPr>
              <a:t>Mn</a:t>
            </a:r>
            <a:endParaRPr lang="fr-FR" sz="1600" b="1">
              <a:solidFill>
                <a:srgbClr val="21B3EF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/>
              <a:t>INSÉRER TABLEAU</a:t>
            </a:r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/>
              <a:t>Insérer une légende</a:t>
            </a:r>
          </a:p>
        </p:txBody>
      </p:sp>
    </p:spTree>
    <p:extLst>
      <p:ext uri="{BB962C8B-B14F-4D97-AF65-F5344CB8AC3E}">
        <p14:creationId xmlns:p14="http://schemas.microsoft.com/office/powerpoint/2010/main" val="269690017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53836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4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ITRE DE LA PARTIE SUR PLUSIEURS LIGN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SOUS-TITRE DE LA PARTIE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6" name="Oval 2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>
                <a:solidFill>
                  <a:srgbClr val="F27019"/>
                </a:solidFill>
              </a:rPr>
              <a:t>All</a:t>
            </a:r>
            <a:endParaRPr lang="fr-FR" sz="3600" b="1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pic>
        <p:nvPicPr>
          <p:cNvPr id="21" name="Picture 20" descr="8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058" y="3176009"/>
            <a:ext cx="2877120" cy="2852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8062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4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ITRE DE LA PARTIE SUR PLUSIEURS LIGN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SOUS-TITRE DE LA PARTI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>
                <a:solidFill>
                  <a:srgbClr val="F27019"/>
                </a:solidFill>
              </a:rPr>
              <a:t>All</a:t>
            </a:r>
            <a:endParaRPr lang="fr-FR" sz="3600" b="1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pic>
        <p:nvPicPr>
          <p:cNvPr id="26" name="Picture 25" descr="9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0852" y="3151627"/>
            <a:ext cx="2877120" cy="287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156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31655237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IMUM</a:t>
            </a:r>
            <a:endParaRPr lang="fr-FR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exte ou chiffre clé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38885664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IMUM</a:t>
            </a:r>
            <a:endParaRPr lang="fr-FR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12721403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IMUM</a:t>
            </a:r>
            <a:endParaRPr lang="fr-FR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exte ou chiffre clé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>
                <a:solidFill>
                  <a:srgbClr val="DB001A"/>
                </a:solidFill>
              </a:rPr>
              <a:t>Groupe</a:t>
            </a:r>
            <a:endParaRPr lang="fr-FR" sz="1000" b="1">
              <a:solidFill>
                <a:srgbClr val="DB001A"/>
              </a:solidFill>
            </a:endParaRP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22055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DEUX LIGNES MAXIMUM</a:t>
            </a:r>
            <a:endParaRPr lang="fr-FR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34911420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9186680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</a:t>
            </a:r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lorem ipsum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30661997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</a:t>
            </a:r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26615889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/>
              <a:t>INSÉRER GRAPHIQUE</a:t>
            </a:r>
          </a:p>
        </p:txBody>
      </p:sp>
    </p:spTree>
    <p:extLst>
      <p:ext uri="{BB962C8B-B14F-4D97-AF65-F5344CB8AC3E}">
        <p14:creationId xmlns:p14="http://schemas.microsoft.com/office/powerpoint/2010/main" val="68469997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/>
              <a:t>INSÉRER TABLEAU</a:t>
            </a:r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/>
              <a:t>Insérer une légende</a:t>
            </a:r>
          </a:p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9416749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272781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37" name="Oval 3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38" name="Picture 37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28" name="Oval 2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>
                <a:solidFill>
                  <a:srgbClr val="7F7F7F"/>
                </a:solidFill>
              </a:rPr>
              <a:t>Autres métaux</a:t>
            </a:r>
            <a:endParaRPr lang="fr-FR" sz="1800" b="1">
              <a:solidFill>
                <a:srgbClr val="7F7F7F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7F7F7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5</a:t>
            </a: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ITRE DE LA PARTIE SUR PLUSIEURS LIGNES</a:t>
            </a:r>
          </a:p>
        </p:txBody>
      </p:sp>
      <p:sp>
        <p:nvSpPr>
          <p:cNvPr id="3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7F7F7F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SOUS-TITRE DE LA PARTIE</a:t>
            </a:r>
          </a:p>
        </p:txBody>
      </p:sp>
      <p:pic>
        <p:nvPicPr>
          <p:cNvPr id="35" name="Picture 34" descr="zircon sand-r20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56" r="16656"/>
          <a:stretch/>
        </p:blipFill>
        <p:spPr>
          <a:xfrm>
            <a:off x="499840" y="2852550"/>
            <a:ext cx="2830798" cy="2835393"/>
          </a:xfrm>
          <a:prstGeom prst="ellips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93393725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80808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>
                <a:solidFill>
                  <a:srgbClr val="7F7F7F"/>
                </a:solidFill>
              </a:rPr>
              <a:t>Autres métaux</a:t>
            </a:r>
            <a:endParaRPr lang="fr-FR" sz="1000" b="1">
              <a:solidFill>
                <a:srgbClr val="7F7F7F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3524932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IMUM</a:t>
            </a:r>
            <a:endParaRPr lang="fr-FR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exte ou chiffre clé</a:t>
            </a: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8" name="Oval 17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5" name="Oval 24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>
                <a:solidFill>
                  <a:srgbClr val="7F7F7F"/>
                </a:solidFill>
              </a:rPr>
              <a:t>Autres métaux</a:t>
            </a:r>
            <a:endParaRPr lang="fr-FR" sz="1000" b="1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177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IMUM</a:t>
            </a:r>
            <a:endParaRPr lang="fr-FR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>
                <a:solidFill>
                  <a:srgbClr val="DB001A"/>
                </a:solidFill>
              </a:rPr>
              <a:t>Groupe</a:t>
            </a:r>
            <a:endParaRPr lang="fr-FR" sz="1000" b="1">
              <a:solidFill>
                <a:srgbClr val="DB001A"/>
              </a:solidFill>
            </a:endParaRPr>
          </a:p>
        </p:txBody>
      </p:sp>
      <p:sp>
        <p:nvSpPr>
          <p:cNvPr id="1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61488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IMUM</a:t>
            </a:r>
            <a:endParaRPr lang="fr-FR"/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>
                <a:solidFill>
                  <a:srgbClr val="7F7F7F"/>
                </a:solidFill>
              </a:rPr>
              <a:t>Autres métaux</a:t>
            </a:r>
            <a:endParaRPr lang="fr-FR" sz="1000" b="1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08765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DEUX LIGNES MAXIMUM</a:t>
            </a:r>
            <a:endParaRPr lang="fr-FR"/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>
                <a:solidFill>
                  <a:srgbClr val="7F7F7F"/>
                </a:solidFill>
              </a:rPr>
              <a:t>Autres métaux</a:t>
            </a:r>
            <a:endParaRPr lang="fr-FR" sz="1000" b="1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55332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>
                <a:solidFill>
                  <a:srgbClr val="7F7F7F"/>
                </a:solidFill>
              </a:rPr>
              <a:t>Autres métaux</a:t>
            </a:r>
            <a:endParaRPr lang="fr-FR" sz="1000" b="1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78784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</a:t>
            </a:r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lorem ipsum</a:t>
            </a: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8" name="Oval 17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>
                <a:solidFill>
                  <a:srgbClr val="7F7F7F"/>
                </a:solidFill>
              </a:rPr>
              <a:t>Autres métaux</a:t>
            </a:r>
            <a:endParaRPr lang="fr-FR" sz="1000" b="1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21550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</a:t>
            </a:r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8" name="Oval 17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5" name="Oval 24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>
                <a:solidFill>
                  <a:srgbClr val="7F7F7F"/>
                </a:solidFill>
              </a:rPr>
              <a:t>Autres métaux</a:t>
            </a:r>
            <a:endParaRPr lang="fr-FR" sz="1000" b="1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46997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/>
              <a:t>INSÉRER GRAPHIQUE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2" name="Oval 1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1" name="Oval 20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>
                <a:solidFill>
                  <a:srgbClr val="7F7F7F"/>
                </a:solidFill>
              </a:rPr>
              <a:t>Autres métaux</a:t>
            </a:r>
            <a:endParaRPr lang="fr-FR" sz="1000" b="1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49134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/>
              <a:t>INSÉRER TABLEAU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4" name="Oval 13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0" name="Picture 19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1" name="Oval 20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>
                <a:solidFill>
                  <a:srgbClr val="7F7F7F"/>
                </a:solidFill>
              </a:rPr>
              <a:t>Autres métaux</a:t>
            </a:r>
            <a:endParaRPr lang="fr-FR" sz="1000" b="1">
              <a:solidFill>
                <a:srgbClr val="7F7F7F"/>
              </a:solidFill>
            </a:endParaRPr>
          </a:p>
        </p:txBody>
      </p:sp>
      <p:sp>
        <p:nvSpPr>
          <p:cNvPr id="15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/>
              <a:t>Insérer une légende</a:t>
            </a:r>
          </a:p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955049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357468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4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ITRE DE LA PARTIE SUR PLUSIEURS LIGN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SOUS-TITRE DE LA PARTIE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6" name="Oval 2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>
                <a:solidFill>
                  <a:srgbClr val="F27019"/>
                </a:solidFill>
              </a:rPr>
              <a:t>All</a:t>
            </a:r>
            <a:endParaRPr lang="fr-FR" sz="3600" b="1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pic>
        <p:nvPicPr>
          <p:cNvPr id="21" name="Picture 20" descr="8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058" y="3176009"/>
            <a:ext cx="2877120" cy="2852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82713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4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ITRE DE LA PARTIE SUR PLUSIEURS LIGN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SOUS-TITRE DE LA PARTI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>
                <a:solidFill>
                  <a:srgbClr val="F27019"/>
                </a:solidFill>
              </a:rPr>
              <a:t>All</a:t>
            </a:r>
            <a:endParaRPr lang="fr-FR" sz="3600" b="1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pic>
        <p:nvPicPr>
          <p:cNvPr id="26" name="Picture 25" descr="9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0852" y="3151627"/>
            <a:ext cx="2877120" cy="287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6860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DEUX LIGNES MAXIMUM</a:t>
            </a:r>
            <a:endParaRPr lang="fr-FR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>
                <a:solidFill>
                  <a:srgbClr val="DB001A"/>
                </a:solidFill>
              </a:rPr>
              <a:t>Groupe</a:t>
            </a:r>
            <a:endParaRPr lang="fr-FR" sz="1000" b="1">
              <a:solidFill>
                <a:srgbClr val="DB001A"/>
              </a:solidFill>
            </a:endParaRPr>
          </a:p>
        </p:txBody>
      </p:sp>
      <p:sp>
        <p:nvSpPr>
          <p:cNvPr id="1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40897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18464864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IMUM</a:t>
            </a:r>
            <a:endParaRPr lang="fr-FR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exte ou chiffre clé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126029894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IMUM</a:t>
            </a:r>
            <a:endParaRPr lang="fr-FR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197842093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DEUX LIGNES MAXIMUM</a:t>
            </a:r>
            <a:endParaRPr lang="fr-FR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164161661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252240221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</a:t>
            </a:r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lorem ipsum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419507360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</a:t>
            </a:r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4361417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/>
              <a:t>INSÉRER GRAPHIQUE</a:t>
            </a:r>
          </a:p>
        </p:txBody>
      </p:sp>
    </p:spTree>
    <p:extLst>
      <p:ext uri="{BB962C8B-B14F-4D97-AF65-F5344CB8AC3E}">
        <p14:creationId xmlns:p14="http://schemas.microsoft.com/office/powerpoint/2010/main" val="113774241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/>
              <a:t>INSÉRER TABLEAU</a:t>
            </a:r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/>
              <a:t>Insérer une légende</a:t>
            </a:r>
          </a:p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6884040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23045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>
                <a:solidFill>
                  <a:srgbClr val="DB001A"/>
                </a:solidFill>
              </a:rPr>
              <a:t>Groupe</a:t>
            </a:r>
            <a:endParaRPr lang="fr-FR" sz="1000" b="1">
              <a:solidFill>
                <a:srgbClr val="DB001A"/>
              </a:solidFill>
            </a:endParaRPr>
          </a:p>
        </p:txBody>
      </p:sp>
      <p:sp>
        <p:nvSpPr>
          <p:cNvPr id="1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21270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4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ITRE DE LA PARTIE SUR PLUSIEURS LIGN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SOUS-TITRE DE LA PARTIE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6" name="Oval 2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>
                <a:solidFill>
                  <a:srgbClr val="F27019"/>
                </a:solidFill>
              </a:rPr>
              <a:t>All</a:t>
            </a:r>
            <a:endParaRPr lang="fr-FR" sz="3600" b="1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pic>
        <p:nvPicPr>
          <p:cNvPr id="21" name="Picture 20" descr="8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058" y="3176009"/>
            <a:ext cx="2877120" cy="2852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60772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4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ITRE DE LA PARTIE SUR PLUSIEURS LIGN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SOUS-TITRE DE LA PARTI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>
                <a:solidFill>
                  <a:srgbClr val="F27019"/>
                </a:solidFill>
              </a:rPr>
              <a:t>All</a:t>
            </a:r>
            <a:endParaRPr lang="fr-FR" sz="3600" b="1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pic>
        <p:nvPicPr>
          <p:cNvPr id="26" name="Picture 25" descr="9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0852" y="3151627"/>
            <a:ext cx="2877120" cy="287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84058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330441235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IMUM</a:t>
            </a:r>
            <a:endParaRPr lang="fr-FR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exte ou chiffre clé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182820597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IMUM</a:t>
            </a:r>
            <a:endParaRPr lang="fr-FR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421011956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DEUX LIGNES MAXIMUM</a:t>
            </a:r>
            <a:endParaRPr lang="fr-FR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412825847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19953789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</a:t>
            </a:r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lorem ipsum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301807198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</a:t>
            </a:r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29600433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/>
              <a:t>INSÉRER GRAPHIQUE</a:t>
            </a:r>
          </a:p>
        </p:txBody>
      </p:sp>
    </p:spTree>
    <p:extLst>
      <p:ext uri="{BB962C8B-B14F-4D97-AF65-F5344CB8AC3E}">
        <p14:creationId xmlns:p14="http://schemas.microsoft.com/office/powerpoint/2010/main" val="11147317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</a:t>
            </a:r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lorem ipsum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4" name="Picture 2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>
                <a:solidFill>
                  <a:srgbClr val="DB001A"/>
                </a:solidFill>
              </a:rPr>
              <a:t>Groupe</a:t>
            </a:r>
            <a:endParaRPr lang="fr-FR" sz="1000" b="1">
              <a:solidFill>
                <a:srgbClr val="DB001A"/>
              </a:solidFill>
            </a:endParaRP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87109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>
                <a:solidFill>
                  <a:srgbClr val="F27019"/>
                </a:solidFill>
              </a:rPr>
              <a:t>All</a:t>
            </a:r>
            <a:endParaRPr lang="fr-FR" sz="1600" b="1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/>
              <a:t>INSÉRER TABLEAU</a:t>
            </a:r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/>
              <a:t>Insérer une légende</a:t>
            </a:r>
          </a:p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4670646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628077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757F88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4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ITRE DE LA PARTIE SUR PLUSIEURS LIGN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757F88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SOUS-TITRE DE LA PARTIE</a:t>
            </a: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5455951" y="1627137"/>
            <a:ext cx="1729104" cy="699247"/>
          </a:xfrm>
          <a:prstGeom prst="rect">
            <a:avLst/>
          </a:prstGeom>
        </p:spPr>
      </p:pic>
      <p:pic>
        <p:nvPicPr>
          <p:cNvPr id="23" name="Picture 2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80852" y="3151627"/>
            <a:ext cx="2709290" cy="270929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55098493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757F88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4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ITRE DE LA PARTIE SUR PLUSIEURS LIGN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757F88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SOUS-TITRE DE LA PARTIE</a:t>
            </a: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pic>
        <p:nvPicPr>
          <p:cNvPr id="26" name="Picture 25" descr="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0852" y="3151628"/>
            <a:ext cx="2709290" cy="2703550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5455951" y="1627137"/>
            <a:ext cx="1729104" cy="699247"/>
          </a:xfrm>
          <a:prstGeom prst="rect">
            <a:avLst/>
          </a:prstGeom>
        </p:spPr>
      </p:pic>
      <p:pic>
        <p:nvPicPr>
          <p:cNvPr id="25" name="Picture 2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80852" y="3151627"/>
            <a:ext cx="2709290" cy="270929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59104520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757F88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7754374" y="466725"/>
            <a:ext cx="129544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96290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IMUM</a:t>
            </a:r>
            <a:endParaRPr lang="fr-FR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757F8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exte ou chiffre clé</a:t>
            </a: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757F88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pic>
        <p:nvPicPr>
          <p:cNvPr id="19" name="Image 1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7754374" y="466725"/>
            <a:ext cx="129544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34467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IMUM</a:t>
            </a:r>
            <a:endParaRPr lang="fr-FR"/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757F88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pic>
        <p:nvPicPr>
          <p:cNvPr id="16" name="Imag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7754374" y="466725"/>
            <a:ext cx="129544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91398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DEUX LIGNES MAXIMUM</a:t>
            </a:r>
            <a:endParaRPr lang="fr-FR"/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757F88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pic>
        <p:nvPicPr>
          <p:cNvPr id="16" name="Imag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7754374" y="466725"/>
            <a:ext cx="129544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73357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757F88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pic>
        <p:nvPicPr>
          <p:cNvPr id="17" name="Image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7754374" y="466725"/>
            <a:ext cx="129544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06973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3977772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</a:t>
            </a:r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757F88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757F88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lorem ipsum</a:t>
            </a: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757F88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pic>
        <p:nvPicPr>
          <p:cNvPr id="21" name="Image 2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7754374" y="466725"/>
            <a:ext cx="129544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8182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</a:t>
            </a:r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>
                <a:solidFill>
                  <a:srgbClr val="DB001A"/>
                </a:solidFill>
              </a:rPr>
              <a:t>Groupe</a:t>
            </a:r>
            <a:endParaRPr lang="fr-FR" sz="1000" b="1">
              <a:solidFill>
                <a:srgbClr val="DB001A"/>
              </a:solidFill>
            </a:endParaRP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596374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</a:t>
            </a:r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757F88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757F88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757F88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pic>
        <p:nvPicPr>
          <p:cNvPr id="21" name="Image 2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7754374" y="466725"/>
            <a:ext cx="129544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9411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757F88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/>
              <a:t>INSÉRER GRAPHIQUE</a:t>
            </a:r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7754374" y="466725"/>
            <a:ext cx="129544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28663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757F88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/>
              <a:t>INSÉRER TABLEAU</a:t>
            </a:r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/>
              <a:t>Insérer une légende</a:t>
            </a:r>
          </a:p>
          <a:p>
            <a:endParaRPr lang="fr-FR"/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7754374" y="466725"/>
            <a:ext cx="129544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96177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332101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coTitanium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757F88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4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ITRE DE LA PARTIE SUR PLUSIEURS LIGN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757F88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SOUS-TITRE DE LA PARTIE</a:t>
            </a: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5455951" y="1627137"/>
            <a:ext cx="1729104" cy="699247"/>
          </a:xfrm>
          <a:prstGeom prst="rect">
            <a:avLst/>
          </a:prstGeom>
        </p:spPr>
      </p:pic>
      <p:pic>
        <p:nvPicPr>
          <p:cNvPr id="23" name="Picture 2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80852" y="3151627"/>
            <a:ext cx="2709290" cy="270929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04915886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coTitanium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757F88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4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ITRE DE LA PARTIE SUR PLUSIEURS LIGN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757F88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SOUS-TITRE DE LA PARTIE</a:t>
            </a: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pic>
        <p:nvPicPr>
          <p:cNvPr id="26" name="Picture 25" descr="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0852" y="3151628"/>
            <a:ext cx="2709290" cy="2703550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5455951" y="1627137"/>
            <a:ext cx="1729104" cy="699247"/>
          </a:xfrm>
          <a:prstGeom prst="rect">
            <a:avLst/>
          </a:prstGeom>
        </p:spPr>
      </p:pic>
      <p:pic>
        <p:nvPicPr>
          <p:cNvPr id="25" name="Picture 2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80852" y="3151627"/>
            <a:ext cx="2709290" cy="270929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6311405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coTitaniu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757F88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7754374" y="466725"/>
            <a:ext cx="129544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71339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coTitaniu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IMUM</a:t>
            </a:r>
            <a:endParaRPr lang="fr-FR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757F8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texte ou chiffre clé</a:t>
            </a: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757F88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pic>
        <p:nvPicPr>
          <p:cNvPr id="19" name="Image 1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7754374" y="466725"/>
            <a:ext cx="129544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18743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coTitaniu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TROIS LIGNES MAXIMUM</a:t>
            </a:r>
            <a:endParaRPr lang="fr-FR"/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757F88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pic>
        <p:nvPicPr>
          <p:cNvPr id="16" name="Imag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7754374" y="466725"/>
            <a:ext cx="129544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49040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coTitaniu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INSÉRER VISUEL - paysage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/>
              <a:t>DÉTAILS, DESCRIPTIF, LÉGENDE</a:t>
            </a:r>
            <a:r>
              <a:rPr lang="en-US"/>
              <a:t>… SUR DEUX LIGNES MAXIMUM</a:t>
            </a:r>
            <a:endParaRPr lang="fr-FR"/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757F88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/>
              <a:t>TITRE DE LA PAGE SUR DEUX LIGNES MAXIMUM</a:t>
            </a:r>
          </a:p>
        </p:txBody>
      </p:sp>
      <p:pic>
        <p:nvPicPr>
          <p:cNvPr id="16" name="Imag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7754374" y="466725"/>
            <a:ext cx="129544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6116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20.xml"/><Relationship Id="rId7" Type="http://schemas.openxmlformats.org/officeDocument/2006/relationships/theme" Target="../theme/theme11.x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21.xml"/><Relationship Id="rId9" Type="http://schemas.openxmlformats.org/officeDocument/2006/relationships/image" Target="../media/image1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26.xml"/><Relationship Id="rId7" Type="http://schemas.openxmlformats.org/officeDocument/2006/relationships/theme" Target="../theme/theme12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7.xml"/><Relationship Id="rId9" Type="http://schemas.openxmlformats.org/officeDocument/2006/relationships/image" Target="../media/image12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.xml"/><Relationship Id="rId13" Type="http://schemas.openxmlformats.org/officeDocument/2006/relationships/slideLayout" Target="../slideLayouts/slideLayout142.xml"/><Relationship Id="rId18" Type="http://schemas.openxmlformats.org/officeDocument/2006/relationships/slideLayout" Target="../slideLayouts/slideLayout147.xml"/><Relationship Id="rId26" Type="http://schemas.openxmlformats.org/officeDocument/2006/relationships/theme" Target="../theme/theme13.xml"/><Relationship Id="rId3" Type="http://schemas.openxmlformats.org/officeDocument/2006/relationships/slideLayout" Target="../slideLayouts/slideLayout132.xml"/><Relationship Id="rId21" Type="http://schemas.openxmlformats.org/officeDocument/2006/relationships/slideLayout" Target="../slideLayouts/slideLayout150.xml"/><Relationship Id="rId7" Type="http://schemas.openxmlformats.org/officeDocument/2006/relationships/slideLayout" Target="../slideLayouts/slideLayout136.xml"/><Relationship Id="rId12" Type="http://schemas.openxmlformats.org/officeDocument/2006/relationships/slideLayout" Target="../slideLayouts/slideLayout141.xml"/><Relationship Id="rId17" Type="http://schemas.openxmlformats.org/officeDocument/2006/relationships/slideLayout" Target="../slideLayouts/slideLayout146.xml"/><Relationship Id="rId25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31.xml"/><Relationship Id="rId16" Type="http://schemas.openxmlformats.org/officeDocument/2006/relationships/slideLayout" Target="../slideLayouts/slideLayout145.xml"/><Relationship Id="rId20" Type="http://schemas.openxmlformats.org/officeDocument/2006/relationships/slideLayout" Target="../slideLayouts/slideLayout149.xml"/><Relationship Id="rId29" Type="http://schemas.openxmlformats.org/officeDocument/2006/relationships/image" Target="../media/image12.png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40.xml"/><Relationship Id="rId24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34.xml"/><Relationship Id="rId15" Type="http://schemas.openxmlformats.org/officeDocument/2006/relationships/slideLayout" Target="../slideLayouts/slideLayout144.xml"/><Relationship Id="rId23" Type="http://schemas.openxmlformats.org/officeDocument/2006/relationships/slideLayout" Target="../slideLayouts/slideLayout152.xml"/><Relationship Id="rId28" Type="http://schemas.openxmlformats.org/officeDocument/2006/relationships/image" Target="../media/image17.png"/><Relationship Id="rId10" Type="http://schemas.openxmlformats.org/officeDocument/2006/relationships/slideLayout" Target="../slideLayouts/slideLayout139.xml"/><Relationship Id="rId19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Relationship Id="rId14" Type="http://schemas.openxmlformats.org/officeDocument/2006/relationships/slideLayout" Target="../slideLayouts/slideLayout143.xml"/><Relationship Id="rId22" Type="http://schemas.openxmlformats.org/officeDocument/2006/relationships/slideLayout" Target="../slideLayouts/slideLayout151.xml"/><Relationship Id="rId27" Type="http://schemas.openxmlformats.org/officeDocument/2006/relationships/image" Target="../media/image11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57.xml"/><Relationship Id="rId7" Type="http://schemas.openxmlformats.org/officeDocument/2006/relationships/theme" Target="../theme/theme14.xml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8.xml"/><Relationship Id="rId9" Type="http://schemas.openxmlformats.org/officeDocument/2006/relationships/image" Target="../media/image12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13" Type="http://schemas.openxmlformats.org/officeDocument/2006/relationships/slideLayout" Target="../slideLayouts/slideLayout173.xml"/><Relationship Id="rId18" Type="http://schemas.openxmlformats.org/officeDocument/2006/relationships/slideLayout" Target="../slideLayouts/slideLayout178.xml"/><Relationship Id="rId26" Type="http://schemas.openxmlformats.org/officeDocument/2006/relationships/theme" Target="../theme/theme15.xml"/><Relationship Id="rId3" Type="http://schemas.openxmlformats.org/officeDocument/2006/relationships/slideLayout" Target="../slideLayouts/slideLayout163.xml"/><Relationship Id="rId21" Type="http://schemas.openxmlformats.org/officeDocument/2006/relationships/slideLayout" Target="../slideLayouts/slideLayout181.xml"/><Relationship Id="rId7" Type="http://schemas.openxmlformats.org/officeDocument/2006/relationships/slideLayout" Target="../slideLayouts/slideLayout167.xml"/><Relationship Id="rId12" Type="http://schemas.openxmlformats.org/officeDocument/2006/relationships/slideLayout" Target="../slideLayouts/slideLayout172.xml"/><Relationship Id="rId17" Type="http://schemas.openxmlformats.org/officeDocument/2006/relationships/slideLayout" Target="../slideLayouts/slideLayout177.xml"/><Relationship Id="rId25" Type="http://schemas.openxmlformats.org/officeDocument/2006/relationships/slideLayout" Target="../slideLayouts/slideLayout185.xml"/><Relationship Id="rId2" Type="http://schemas.openxmlformats.org/officeDocument/2006/relationships/slideLayout" Target="../slideLayouts/slideLayout162.xml"/><Relationship Id="rId16" Type="http://schemas.openxmlformats.org/officeDocument/2006/relationships/slideLayout" Target="../slideLayouts/slideLayout176.xml"/><Relationship Id="rId20" Type="http://schemas.openxmlformats.org/officeDocument/2006/relationships/slideLayout" Target="../slideLayouts/slideLayout180.xml"/><Relationship Id="rId29" Type="http://schemas.openxmlformats.org/officeDocument/2006/relationships/image" Target="../media/image12.png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11" Type="http://schemas.openxmlformats.org/officeDocument/2006/relationships/slideLayout" Target="../slideLayouts/slideLayout171.xml"/><Relationship Id="rId24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65.xml"/><Relationship Id="rId15" Type="http://schemas.openxmlformats.org/officeDocument/2006/relationships/slideLayout" Target="../slideLayouts/slideLayout175.xml"/><Relationship Id="rId23" Type="http://schemas.openxmlformats.org/officeDocument/2006/relationships/slideLayout" Target="../slideLayouts/slideLayout183.xml"/><Relationship Id="rId28" Type="http://schemas.openxmlformats.org/officeDocument/2006/relationships/image" Target="../media/image17.png"/><Relationship Id="rId10" Type="http://schemas.openxmlformats.org/officeDocument/2006/relationships/slideLayout" Target="../slideLayouts/slideLayout170.xml"/><Relationship Id="rId19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164.xml"/><Relationship Id="rId9" Type="http://schemas.openxmlformats.org/officeDocument/2006/relationships/slideLayout" Target="../slideLayouts/slideLayout169.xml"/><Relationship Id="rId14" Type="http://schemas.openxmlformats.org/officeDocument/2006/relationships/slideLayout" Target="../slideLayouts/slideLayout174.xml"/><Relationship Id="rId22" Type="http://schemas.openxmlformats.org/officeDocument/2006/relationships/slideLayout" Target="../slideLayouts/slideLayout182.xml"/><Relationship Id="rId27" Type="http://schemas.openxmlformats.org/officeDocument/2006/relationships/image" Target="../media/image11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88.xml"/><Relationship Id="rId7" Type="http://schemas.openxmlformats.org/officeDocument/2006/relationships/theme" Target="../theme/theme16.xml"/><Relationship Id="rId2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5" Type="http://schemas.openxmlformats.org/officeDocument/2006/relationships/slideLayout" Target="../slideLayouts/slideLayout190.xml"/><Relationship Id="rId4" Type="http://schemas.openxmlformats.org/officeDocument/2006/relationships/slideLayout" Target="../slideLayouts/slideLayout189.xml"/><Relationship Id="rId9" Type="http://schemas.openxmlformats.org/officeDocument/2006/relationships/image" Target="../media/image12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9.xml"/><Relationship Id="rId13" Type="http://schemas.openxmlformats.org/officeDocument/2006/relationships/slideLayout" Target="../slideLayouts/slideLayout204.xml"/><Relationship Id="rId18" Type="http://schemas.openxmlformats.org/officeDocument/2006/relationships/slideLayout" Target="../slideLayouts/slideLayout209.xml"/><Relationship Id="rId26" Type="http://schemas.openxmlformats.org/officeDocument/2006/relationships/theme" Target="../theme/theme17.xml"/><Relationship Id="rId3" Type="http://schemas.openxmlformats.org/officeDocument/2006/relationships/slideLayout" Target="../slideLayouts/slideLayout194.xml"/><Relationship Id="rId21" Type="http://schemas.openxmlformats.org/officeDocument/2006/relationships/slideLayout" Target="../slideLayouts/slideLayout212.xml"/><Relationship Id="rId7" Type="http://schemas.openxmlformats.org/officeDocument/2006/relationships/slideLayout" Target="../slideLayouts/slideLayout198.xml"/><Relationship Id="rId12" Type="http://schemas.openxmlformats.org/officeDocument/2006/relationships/slideLayout" Target="../slideLayouts/slideLayout203.xml"/><Relationship Id="rId17" Type="http://schemas.openxmlformats.org/officeDocument/2006/relationships/slideLayout" Target="../slideLayouts/slideLayout208.xml"/><Relationship Id="rId25" Type="http://schemas.openxmlformats.org/officeDocument/2006/relationships/slideLayout" Target="../slideLayouts/slideLayout216.xml"/><Relationship Id="rId2" Type="http://schemas.openxmlformats.org/officeDocument/2006/relationships/slideLayout" Target="../slideLayouts/slideLayout193.xml"/><Relationship Id="rId16" Type="http://schemas.openxmlformats.org/officeDocument/2006/relationships/slideLayout" Target="../slideLayouts/slideLayout207.xml"/><Relationship Id="rId20" Type="http://schemas.openxmlformats.org/officeDocument/2006/relationships/slideLayout" Target="../slideLayouts/slideLayout211.xml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1" Type="http://schemas.openxmlformats.org/officeDocument/2006/relationships/slideLayout" Target="../slideLayouts/slideLayout202.xml"/><Relationship Id="rId24" Type="http://schemas.openxmlformats.org/officeDocument/2006/relationships/slideLayout" Target="../slideLayouts/slideLayout215.xml"/><Relationship Id="rId5" Type="http://schemas.openxmlformats.org/officeDocument/2006/relationships/slideLayout" Target="../slideLayouts/slideLayout196.xml"/><Relationship Id="rId15" Type="http://schemas.openxmlformats.org/officeDocument/2006/relationships/slideLayout" Target="../slideLayouts/slideLayout206.xml"/><Relationship Id="rId23" Type="http://schemas.openxmlformats.org/officeDocument/2006/relationships/slideLayout" Target="../slideLayouts/slideLayout214.xml"/><Relationship Id="rId28" Type="http://schemas.openxmlformats.org/officeDocument/2006/relationships/image" Target="../media/image12.png"/><Relationship Id="rId10" Type="http://schemas.openxmlformats.org/officeDocument/2006/relationships/slideLayout" Target="../slideLayouts/slideLayout201.xml"/><Relationship Id="rId19" Type="http://schemas.openxmlformats.org/officeDocument/2006/relationships/slideLayout" Target="../slideLayouts/slideLayout210.xml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Relationship Id="rId14" Type="http://schemas.openxmlformats.org/officeDocument/2006/relationships/slideLayout" Target="../slideLayouts/slideLayout205.xml"/><Relationship Id="rId22" Type="http://schemas.openxmlformats.org/officeDocument/2006/relationships/slideLayout" Target="../slideLayouts/slideLayout213.xml"/><Relationship Id="rId27" Type="http://schemas.openxmlformats.org/officeDocument/2006/relationships/image" Target="../media/image1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0" y="6611326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0305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80" r:id="rId11"/>
    <p:sldLayoutId id="2147483703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0" y="6611326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3353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1" r:id="rId2"/>
    <p:sldLayoutId id="2147483952" r:id="rId3"/>
    <p:sldLayoutId id="2147483953" r:id="rId4"/>
    <p:sldLayoutId id="2147483954" r:id="rId5"/>
    <p:sldLayoutId id="2147483955" r:id="rId6"/>
    <p:sldLayoutId id="2147483956" r:id="rId7"/>
    <p:sldLayoutId id="2147483957" r:id="rId8"/>
    <p:sldLayoutId id="2147483958" r:id="rId9"/>
    <p:sldLayoutId id="2147483959" r:id="rId10"/>
    <p:sldLayoutId id="2147483960" r:id="rId11"/>
    <p:sldLayoutId id="2147483961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40000" y="0"/>
            <a:ext cx="8064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40000" y="1242000"/>
            <a:ext cx="8064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defTabSz="914400"/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862088" y="6192682"/>
            <a:ext cx="342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 defTabSz="914400"/>
            <a:r>
              <a:rPr lang="fr-FR">
                <a:solidFill>
                  <a:srgbClr val="1A003B"/>
                </a:solidFill>
              </a:rPr>
              <a:t>QBR Alliages - 30 janvier 2019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539550" y="6192682"/>
            <a:ext cx="288033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pPr defTabSz="914400"/>
            <a:fld id="{733122C9-A0B9-462F-8757-0847AD287B63}" type="slidenum">
              <a:rPr lang="fr-FR" smtClean="0">
                <a:solidFill>
                  <a:srgbClr val="FA6414"/>
                </a:solidFill>
              </a:rPr>
              <a:pPr defTabSz="914400"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740352" y="6201308"/>
            <a:ext cx="1006986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839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9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40000" y="0"/>
            <a:ext cx="8064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40000" y="1242000"/>
            <a:ext cx="8064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defTabSz="914400"/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862088" y="6192682"/>
            <a:ext cx="342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 defTabSz="914400"/>
            <a:r>
              <a:rPr lang="fr-FR">
                <a:solidFill>
                  <a:srgbClr val="1A003B"/>
                </a:solidFill>
              </a:rPr>
              <a:t>QBR Alliages - 30 janvier 2019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539550" y="6192682"/>
            <a:ext cx="288033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pPr defTabSz="914400"/>
            <a:fld id="{733122C9-A0B9-462F-8757-0847AD287B63}" type="slidenum">
              <a:rPr lang="fr-FR" smtClean="0">
                <a:solidFill>
                  <a:srgbClr val="FA6414"/>
                </a:solidFill>
              </a:rPr>
              <a:pPr defTabSz="914400"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740352" y="6201308"/>
            <a:ext cx="1006986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355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3984" r:id="rId2"/>
    <p:sldLayoutId id="2147483985" r:id="rId3"/>
    <p:sldLayoutId id="2147483986" r:id="rId4"/>
    <p:sldLayoutId id="2147483987" r:id="rId5"/>
    <p:sldLayoutId id="2147483988" r:id="rId6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9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40000" y="0"/>
            <a:ext cx="8064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40000" y="1242000"/>
            <a:ext cx="8064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defTabSz="914400"/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862088" y="6192682"/>
            <a:ext cx="342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 defTabSz="914400"/>
            <a:r>
              <a:rPr lang="fr-FR">
                <a:solidFill>
                  <a:srgbClr val="1A003B"/>
                </a:solidFill>
              </a:rPr>
              <a:t>Titre de la présentation - 00/00/00     Classification : 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539550" y="6192682"/>
            <a:ext cx="288033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pPr defTabSz="914400"/>
            <a:fld id="{733122C9-A0B9-462F-8757-0847AD287B63}" type="slidenum">
              <a:rPr lang="fr-FR" smtClean="0">
                <a:solidFill>
                  <a:srgbClr val="FA6414"/>
                </a:solidFill>
              </a:rPr>
              <a:pPr defTabSz="914400"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740352" y="6201308"/>
            <a:ext cx="1006986" cy="432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5466" y="6239979"/>
            <a:ext cx="828000" cy="375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818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3" r:id="rId1"/>
    <p:sldLayoutId id="2147484004" r:id="rId2"/>
    <p:sldLayoutId id="2147484005" r:id="rId3"/>
    <p:sldLayoutId id="2147484006" r:id="rId4"/>
    <p:sldLayoutId id="2147484007" r:id="rId5"/>
    <p:sldLayoutId id="2147484008" r:id="rId6"/>
    <p:sldLayoutId id="2147484009" r:id="rId7"/>
    <p:sldLayoutId id="2147484010" r:id="rId8"/>
    <p:sldLayoutId id="2147484011" r:id="rId9"/>
    <p:sldLayoutId id="2147484012" r:id="rId10"/>
    <p:sldLayoutId id="2147484013" r:id="rId11"/>
    <p:sldLayoutId id="2147484014" r:id="rId12"/>
    <p:sldLayoutId id="2147484015" r:id="rId13"/>
    <p:sldLayoutId id="2147484016" r:id="rId14"/>
    <p:sldLayoutId id="2147484017" r:id="rId15"/>
    <p:sldLayoutId id="2147484018" r:id="rId16"/>
    <p:sldLayoutId id="2147484019" r:id="rId17"/>
    <p:sldLayoutId id="2147484020" r:id="rId18"/>
    <p:sldLayoutId id="2147484021" r:id="rId19"/>
    <p:sldLayoutId id="2147484022" r:id="rId20"/>
    <p:sldLayoutId id="2147484023" r:id="rId21"/>
    <p:sldLayoutId id="2147484024" r:id="rId22"/>
    <p:sldLayoutId id="2147484025" r:id="rId23"/>
    <p:sldLayoutId id="2147484026" r:id="rId24"/>
    <p:sldLayoutId id="2147484027" r:id="rId25"/>
  </p:sldLayoutIdLst>
  <p:hf sldNum="0"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29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40000" y="0"/>
            <a:ext cx="8064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40000" y="1242000"/>
            <a:ext cx="8064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defTabSz="914400"/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862088" y="6192682"/>
            <a:ext cx="342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 defTabSz="914400"/>
            <a:r>
              <a:rPr lang="fr-FR">
                <a:solidFill>
                  <a:srgbClr val="1A003B"/>
                </a:solidFill>
              </a:rPr>
              <a:t>QBR Alliages - 30 janvier 2019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539550" y="6192682"/>
            <a:ext cx="288033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pPr defTabSz="914400"/>
            <a:fld id="{733122C9-A0B9-462F-8757-0847AD287B63}" type="slidenum">
              <a:rPr lang="fr-FR" smtClean="0">
                <a:solidFill>
                  <a:srgbClr val="FA6414"/>
                </a:solidFill>
              </a:rPr>
              <a:pPr defTabSz="914400"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740352" y="6201308"/>
            <a:ext cx="1006986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7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2" r:id="rId4"/>
    <p:sldLayoutId id="2147484033" r:id="rId5"/>
    <p:sldLayoutId id="2147484034" r:id="rId6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9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40000" y="0"/>
            <a:ext cx="8064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40000" y="1242000"/>
            <a:ext cx="8064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defTabSz="914400"/>
            <a:r>
              <a:rPr lang="en-US">
                <a:solidFill>
                  <a:prstClr val="black">
                    <a:alpha val="0"/>
                  </a:prstClr>
                </a:solidFill>
              </a:rPr>
              <a:t>Date</a:t>
            </a:r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862088" y="6192682"/>
            <a:ext cx="342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 defTabSz="914400"/>
            <a:r>
              <a:rPr lang="fr-FR">
                <a:solidFill>
                  <a:srgbClr val="1A003B"/>
                </a:solidFill>
              </a:rPr>
              <a:t>Titre de la présentation - 00/00/00     Classification : 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539550" y="6192682"/>
            <a:ext cx="288033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pPr defTabSz="914400"/>
            <a:fld id="{733122C9-A0B9-462F-8757-0847AD287B63}" type="slidenum">
              <a:rPr lang="fr-FR" smtClean="0">
                <a:solidFill>
                  <a:srgbClr val="FA6414"/>
                </a:solidFill>
              </a:rPr>
              <a:pPr defTabSz="914400"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740352" y="6201308"/>
            <a:ext cx="1006986" cy="432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5466" y="6239979"/>
            <a:ext cx="828000" cy="375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31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0" r:id="rId5"/>
    <p:sldLayoutId id="2147484041" r:id="rId6"/>
    <p:sldLayoutId id="2147484042" r:id="rId7"/>
    <p:sldLayoutId id="2147484043" r:id="rId8"/>
    <p:sldLayoutId id="2147484044" r:id="rId9"/>
    <p:sldLayoutId id="2147484045" r:id="rId10"/>
    <p:sldLayoutId id="2147484046" r:id="rId11"/>
    <p:sldLayoutId id="2147484047" r:id="rId12"/>
    <p:sldLayoutId id="2147484048" r:id="rId13"/>
    <p:sldLayoutId id="2147484049" r:id="rId14"/>
    <p:sldLayoutId id="2147484050" r:id="rId15"/>
    <p:sldLayoutId id="2147484051" r:id="rId16"/>
    <p:sldLayoutId id="2147484052" r:id="rId17"/>
    <p:sldLayoutId id="2147484053" r:id="rId18"/>
    <p:sldLayoutId id="2147484054" r:id="rId19"/>
    <p:sldLayoutId id="2147484055" r:id="rId20"/>
    <p:sldLayoutId id="2147484056" r:id="rId21"/>
    <p:sldLayoutId id="2147484057" r:id="rId22"/>
    <p:sldLayoutId id="2147484058" r:id="rId23"/>
    <p:sldLayoutId id="2147484059" r:id="rId24"/>
    <p:sldLayoutId id="2147484060" r:id="rId25"/>
  </p:sldLayoutIdLst>
  <p:hf sldNum="0"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29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fr-FR">
              <a:solidFill>
                <a:prstClr val="black"/>
              </a:solidFill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40000" y="0"/>
            <a:ext cx="8064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40000" y="1242000"/>
            <a:ext cx="8064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defTabSz="914400"/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862088" y="6192682"/>
            <a:ext cx="342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 defTabSz="914400"/>
            <a:r>
              <a:rPr lang="fr-FR">
                <a:solidFill>
                  <a:srgbClr val="1A003B"/>
                </a:solidFill>
              </a:rPr>
              <a:t>NPX, Mai 2019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539550" y="6192682"/>
            <a:ext cx="288033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pPr defTabSz="914400"/>
            <a:fld id="{733122C9-A0B9-462F-8757-0847AD287B63}" type="slidenum">
              <a:rPr lang="fr-FR" smtClean="0">
                <a:solidFill>
                  <a:srgbClr val="FA6414"/>
                </a:solidFill>
              </a:rPr>
              <a:pPr defTabSz="914400"/>
              <a:t>‹N°›</a:t>
            </a:fld>
            <a:endParaRPr lang="fr-FR">
              <a:solidFill>
                <a:srgbClr val="FA6414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740352" y="6201308"/>
            <a:ext cx="1006986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175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9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9"/>
          <p:cNvSpPr>
            <a:spLocks/>
          </p:cNvSpPr>
          <p:nvPr/>
        </p:nvSpPr>
        <p:spPr bwMode="gray">
          <a:xfrm>
            <a:off x="0" y="3124200"/>
            <a:ext cx="9144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40000" y="0"/>
            <a:ext cx="8064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40000" y="1242000"/>
            <a:ext cx="8064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Dat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862088" y="6192682"/>
            <a:ext cx="342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/>
              <a:t>Ecotitanium – Avril 2019 - CONFIDENTIEL C2 - PROJE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539550" y="6192682"/>
            <a:ext cx="288033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740352" y="6201308"/>
            <a:ext cx="1006986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981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5" r:id="rId1"/>
    <p:sldLayoutId id="2147484096" r:id="rId2"/>
    <p:sldLayoutId id="2147484097" r:id="rId3"/>
    <p:sldLayoutId id="2147484098" r:id="rId4"/>
    <p:sldLayoutId id="2147484099" r:id="rId5"/>
    <p:sldLayoutId id="2147484100" r:id="rId6"/>
    <p:sldLayoutId id="2147484101" r:id="rId7"/>
    <p:sldLayoutId id="2147484102" r:id="rId8"/>
    <p:sldLayoutId id="2147484103" r:id="rId9"/>
    <p:sldLayoutId id="2147484104" r:id="rId10"/>
    <p:sldLayoutId id="2147484105" r:id="rId11"/>
    <p:sldLayoutId id="2147484106" r:id="rId12"/>
    <p:sldLayoutId id="2147484107" r:id="rId13"/>
    <p:sldLayoutId id="2147484108" r:id="rId14"/>
    <p:sldLayoutId id="2147484109" r:id="rId15"/>
    <p:sldLayoutId id="2147484110" r:id="rId16"/>
    <p:sldLayoutId id="2147484111" r:id="rId17"/>
    <p:sldLayoutId id="2147484112" r:id="rId18"/>
    <p:sldLayoutId id="2147484113" r:id="rId19"/>
    <p:sldLayoutId id="2147484114" r:id="rId20"/>
    <p:sldLayoutId id="2147484115" r:id="rId21"/>
    <p:sldLayoutId id="2147484116" r:id="rId22"/>
    <p:sldLayoutId id="2147484117" r:id="rId23"/>
    <p:sldLayoutId id="2147484118" r:id="rId24"/>
    <p:sldLayoutId id="2147484119" r:id="rId25"/>
  </p:sldLayoutIdLst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28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0" y="6611326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847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81" r:id="rId10"/>
    <p:sldLayoutId id="2147483725" r:id="rId11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0" y="6611326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423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82" r:id="rId10"/>
    <p:sldLayoutId id="2147483747" r:id="rId11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0" y="6611326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891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3" r:id="rId11"/>
    <p:sldLayoutId id="2147483769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0" y="6611326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TITRE DE LA PRÉSENTAT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516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0" y="6611326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419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  <p:sldLayoutId id="2147483812" r:id="rId10"/>
    <p:sldLayoutId id="2147483813" r:id="rId11"/>
    <p:sldLayoutId id="2147483814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0" y="6611326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611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4" r:id="rId9"/>
    <p:sldLayoutId id="2147483825" r:id="rId10"/>
    <p:sldLayoutId id="2147483826" r:id="rId11"/>
    <p:sldLayoutId id="2147483827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0" y="6611326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TITRE DE LA PRÉSENTAT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grpSp>
        <p:nvGrpSpPr>
          <p:cNvPr id="7" name="Group 15"/>
          <p:cNvGrpSpPr/>
          <p:nvPr userDrawn="1"/>
        </p:nvGrpSpPr>
        <p:grpSpPr>
          <a:xfrm>
            <a:off x="7976970" y="5636275"/>
            <a:ext cx="844767" cy="844767"/>
            <a:chOff x="2217201" y="744513"/>
            <a:chExt cx="1382563" cy="1382563"/>
          </a:xfrm>
        </p:grpSpPr>
        <p:sp>
          <p:nvSpPr>
            <p:cNvPr id="8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57F8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9" name="Picture 18"/>
            <p:cNvPicPr>
              <a:picLocks noChangeAspect="1"/>
            </p:cNvPicPr>
            <p:nvPr userDrawn="1"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0" name="Oval 9"/>
          <p:cNvSpPr/>
          <p:nvPr userDrawn="1"/>
        </p:nvSpPr>
        <p:spPr>
          <a:xfrm>
            <a:off x="8590142" y="5471304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57F8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600" b="1">
                <a:solidFill>
                  <a:srgbClr val="757F88"/>
                </a:solidFill>
              </a:rPr>
              <a:t>Alliages</a:t>
            </a:r>
            <a:endParaRPr lang="fr-FR" sz="900" b="1">
              <a:solidFill>
                <a:srgbClr val="757F8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140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4" r:id="rId4"/>
    <p:sldLayoutId id="2147483885" r:id="rId5"/>
    <p:sldLayoutId id="2147483886" r:id="rId6"/>
    <p:sldLayoutId id="2147483887" r:id="rId7"/>
    <p:sldLayoutId id="2147483888" r:id="rId8"/>
    <p:sldLayoutId id="2147483889" r:id="rId9"/>
    <p:sldLayoutId id="2147483890" r:id="rId10"/>
    <p:sldLayoutId id="2147483891" r:id="rId11"/>
    <p:sldLayoutId id="2147483892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0" y="6611326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EcoTitanium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>
              <a:solidFill>
                <a:srgbClr val="1D252B"/>
              </a:solidFill>
            </a:endParaRPr>
          </a:p>
        </p:txBody>
      </p:sp>
      <p:grpSp>
        <p:nvGrpSpPr>
          <p:cNvPr id="7" name="Group 15"/>
          <p:cNvGrpSpPr/>
          <p:nvPr userDrawn="1"/>
        </p:nvGrpSpPr>
        <p:grpSpPr>
          <a:xfrm>
            <a:off x="7976970" y="5636275"/>
            <a:ext cx="844767" cy="844767"/>
            <a:chOff x="2217201" y="744513"/>
            <a:chExt cx="1382563" cy="1382563"/>
          </a:xfrm>
        </p:grpSpPr>
        <p:sp>
          <p:nvSpPr>
            <p:cNvPr id="8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57F8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9" name="Picture 18"/>
            <p:cNvPicPr>
              <a:picLocks noChangeAspect="1"/>
            </p:cNvPicPr>
            <p:nvPr userDrawn="1"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0" name="Oval 9"/>
          <p:cNvSpPr/>
          <p:nvPr userDrawn="1"/>
        </p:nvSpPr>
        <p:spPr>
          <a:xfrm>
            <a:off x="8590142" y="5471304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57F8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600" b="1">
                <a:solidFill>
                  <a:srgbClr val="757F88"/>
                </a:solidFill>
              </a:rPr>
              <a:t>Alliages</a:t>
            </a:r>
            <a:endParaRPr lang="fr-FR" sz="900" b="1">
              <a:solidFill>
                <a:srgbClr val="757F8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2572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  <p:sldLayoutId id="2147483935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1.xml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1.xml"/><Relationship Id="rId4" Type="http://schemas.openxmlformats.org/officeDocument/2006/relationships/image" Target="../media/image29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tags" Target="../tags/tag2.xml"/><Relationship Id="rId7" Type="http://schemas.openxmlformats.org/officeDocument/2006/relationships/image" Target="../media/image9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0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2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emf"/><Relationship Id="rId3" Type="http://schemas.openxmlformats.org/officeDocument/2006/relationships/tags" Target="../tags/tag4.xml"/><Relationship Id="rId7" Type="http://schemas.openxmlformats.org/officeDocument/2006/relationships/image" Target="../media/image9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0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1.xml"/><Relationship Id="rId7" Type="http://schemas.openxmlformats.org/officeDocument/2006/relationships/image" Target="../media/image9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3" Type="http://schemas.openxmlformats.org/officeDocument/2006/relationships/tags" Target="../tags/tag7.xml"/><Relationship Id="rId7" Type="http://schemas.openxmlformats.org/officeDocument/2006/relationships/image" Target="../media/image9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0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2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9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4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4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2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9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4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2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5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4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21.xml"/><Relationship Id="rId9" Type="http://schemas.openxmlformats.org/officeDocument/2006/relationships/image" Target="../media/image36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6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7.xml"/><Relationship Id="rId7" Type="http://schemas.openxmlformats.org/officeDocument/2006/relationships/image" Target="../media/image9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4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38.png"/><Relationship Id="rId4" Type="http://schemas.openxmlformats.org/officeDocument/2006/relationships/slideLayout" Target="../slideLayouts/slideLayout121.xml"/><Relationship Id="rId9" Type="http://schemas.openxmlformats.org/officeDocument/2006/relationships/image" Target="../media/image37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emf"/><Relationship Id="rId3" Type="http://schemas.openxmlformats.org/officeDocument/2006/relationships/tags" Target="../tags/tag19.xml"/><Relationship Id="rId7" Type="http://schemas.openxmlformats.org/officeDocument/2006/relationships/image" Target="../media/image9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4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21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1.xml"/><Relationship Id="rId7" Type="http://schemas.openxmlformats.org/officeDocument/2006/relationships/image" Target="../media/image1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4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21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emf"/><Relationship Id="rId3" Type="http://schemas.openxmlformats.org/officeDocument/2006/relationships/tags" Target="../tags/tag23.xml"/><Relationship Id="rId7" Type="http://schemas.openxmlformats.org/officeDocument/2006/relationships/image" Target="../media/image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4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21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emf"/><Relationship Id="rId3" Type="http://schemas.openxmlformats.org/officeDocument/2006/relationships/tags" Target="../tags/tag25.xml"/><Relationship Id="rId7" Type="http://schemas.openxmlformats.org/officeDocument/2006/relationships/image" Target="../media/image9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4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21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emf"/><Relationship Id="rId3" Type="http://schemas.openxmlformats.org/officeDocument/2006/relationships/tags" Target="../tags/tag27.xml"/><Relationship Id="rId7" Type="http://schemas.openxmlformats.org/officeDocument/2006/relationships/image" Target="../media/image9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4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21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9.xml"/><Relationship Id="rId7" Type="http://schemas.openxmlformats.org/officeDocument/2006/relationships/image" Target="../media/image9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4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21.xml"/><Relationship Id="rId9" Type="http://schemas.openxmlformats.org/officeDocument/2006/relationships/image" Target="../media/image43.emf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emf"/><Relationship Id="rId3" Type="http://schemas.openxmlformats.org/officeDocument/2006/relationships/tags" Target="../tags/tag31.xml"/><Relationship Id="rId7" Type="http://schemas.openxmlformats.org/officeDocument/2006/relationships/image" Target="../media/image9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4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12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9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0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1.xml"/><Relationship Id="rId4" Type="http://schemas.openxmlformats.org/officeDocument/2006/relationships/image" Target="../media/image22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0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1.xml"/><Relationship Id="rId5" Type="http://schemas.openxmlformats.org/officeDocument/2006/relationships/image" Target="../media/image25.png"/><Relationship Id="rId4" Type="http://schemas.openxmlformats.org/officeDocument/2006/relationships/image" Target="../media/image24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1.xml"/><Relationship Id="rId6" Type="http://schemas.openxmlformats.org/officeDocument/2006/relationships/image" Target="../media/image28.png"/><Relationship Id="rId5" Type="http://schemas.openxmlformats.org/officeDocument/2006/relationships/image" Target="../media/image27.emf"/><Relationship Id="rId4" Type="http://schemas.openxmlformats.org/officeDocument/2006/relationships/image" Target="../media/image26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2"/>
            <a:r>
              <a:rPr lang="fr-FR"/>
              <a:t>1</a:t>
            </a:r>
            <a:r>
              <a:rPr lang="fr-FR" baseline="30000"/>
              <a:t>er</a:t>
            </a:r>
            <a:r>
              <a:rPr lang="fr-FR"/>
              <a:t>  MARS 2022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539552" y="2528900"/>
            <a:ext cx="5400000" cy="1512168"/>
          </a:xfrm>
        </p:spPr>
        <p:txBody>
          <a:bodyPr/>
          <a:lstStyle/>
          <a:p>
            <a:r>
              <a:rPr lang="fr-FR"/>
              <a:t>EcoTitanium</a:t>
            </a:r>
            <a:br>
              <a:rPr lang="fr-FR"/>
            </a:br>
            <a:r>
              <a:rPr lang="fr-FR"/>
              <a:t>Comité de Surveillance</a:t>
            </a:r>
            <a:br>
              <a:rPr lang="fr-FR"/>
            </a:br>
            <a:r>
              <a:rPr lang="fr-FR"/>
              <a:t>Mars 2022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</p:spTree>
    <p:extLst>
      <p:ext uri="{BB962C8B-B14F-4D97-AF65-F5344CB8AC3E}">
        <p14:creationId xmlns:p14="http://schemas.microsoft.com/office/powerpoint/2010/main" val="33675134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EFBF6A0B-38DA-4CC4-90A8-9A408E07C2F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re 6">
            <a:extLst>
              <a:ext uri="{FF2B5EF4-FFF2-40B4-BE49-F238E27FC236}">
                <a16:creationId xmlns:a16="http://schemas.microsoft.com/office/drawing/2014/main" id="{5A805900-5626-4C23-A9FB-B8AEF23B8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80" y="-318977"/>
            <a:ext cx="8064000" cy="829737"/>
          </a:xfrm>
        </p:spPr>
        <p:txBody>
          <a:bodyPr/>
          <a:lstStyle/>
          <a:p>
            <a:r>
              <a:rPr lang="fr-FR"/>
              <a:t>02- Qualification Premium </a:t>
            </a:r>
            <a:r>
              <a:rPr lang="fr-FR" err="1"/>
              <a:t>Quality</a:t>
            </a:r>
            <a:endParaRPr lang="fr-FR"/>
          </a:p>
        </p:txBody>
      </p:sp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D760A486-E42D-4A8F-BF70-498D1CA38E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680002"/>
            <a:ext cx="8647289" cy="5478814"/>
          </a:xfrm>
        </p:spPr>
        <p:txBody>
          <a:bodyPr/>
          <a:lstStyle/>
          <a:p>
            <a:pPr lvl="2" algn="just"/>
            <a:r>
              <a:rPr lang="fr-FR">
                <a:solidFill>
                  <a:srgbClr val="1A003B"/>
                </a:solidFill>
                <a:sym typeface="Wingdings" panose="05000000000000000000" pitchFamily="2" charset="2"/>
              </a:rPr>
              <a:t>Poursuite du travail sur les points durs élaboration :</a:t>
            </a:r>
          </a:p>
          <a:p>
            <a:pPr marL="555750" lvl="3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  <a:sym typeface="Wingdings" panose="05000000000000000000" pitchFamily="2" charset="2"/>
              </a:rPr>
              <a:t>Définition des paramètres de la coulée ensemencée au four plasma :</a:t>
            </a:r>
          </a:p>
          <a:p>
            <a:pPr marL="1004888" lvl="4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>
                <a:solidFill>
                  <a:srgbClr val="1A003B"/>
                </a:solidFill>
                <a:sym typeface="Wingdings" panose="05000000000000000000" pitchFamily="2" charset="2"/>
              </a:rPr>
              <a:t>Parcours et puissances des torches : poursuite des mises au point et réalisation d’essais lors de chaque campagne PAM  2 coulées réalisées avec des paramètres Premium </a:t>
            </a:r>
            <a:r>
              <a:rPr lang="fr-FR" sz="1400" err="1">
                <a:solidFill>
                  <a:srgbClr val="1A003B"/>
                </a:solidFill>
                <a:sym typeface="Wingdings" panose="05000000000000000000" pitchFamily="2" charset="2"/>
              </a:rPr>
              <a:t>Quality</a:t>
            </a:r>
            <a:r>
              <a:rPr lang="fr-FR" sz="1400">
                <a:solidFill>
                  <a:srgbClr val="1A003B"/>
                </a:solidFill>
                <a:sym typeface="Wingdings" panose="05000000000000000000" pitchFamily="2" charset="2"/>
              </a:rPr>
              <a:t>.</a:t>
            </a:r>
            <a:endParaRPr lang="fr-FR" sz="1100">
              <a:solidFill>
                <a:srgbClr val="1A003B"/>
              </a:solidFill>
              <a:sym typeface="Wingdings" panose="05000000000000000000" pitchFamily="2" charset="2"/>
            </a:endParaRPr>
          </a:p>
          <a:p>
            <a:pPr marL="555750" lvl="3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  <a:sym typeface="Wingdings" panose="05000000000000000000" pitchFamily="2" charset="2"/>
              </a:rPr>
              <a:t>Mise au point des conditions de surveillances des coulées au four plasma :</a:t>
            </a:r>
          </a:p>
          <a:p>
            <a:pPr marL="1004888" lvl="4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>
                <a:solidFill>
                  <a:srgbClr val="1A003B"/>
                </a:solidFill>
                <a:sym typeface="Wingdings" panose="05000000000000000000" pitchFamily="2" charset="2"/>
              </a:rPr>
              <a:t>Mesure de la vitesse de coulée : développement capital avec l’appui de la Direction Matériaux, Procédés et Innovation des </a:t>
            </a:r>
            <a:r>
              <a:rPr lang="fr-FR" sz="1400" err="1">
                <a:solidFill>
                  <a:srgbClr val="1A003B"/>
                </a:solidFill>
                <a:sym typeface="Wingdings" panose="05000000000000000000" pitchFamily="2" charset="2"/>
              </a:rPr>
              <a:t>Ancizes</a:t>
            </a:r>
            <a:r>
              <a:rPr lang="fr-FR" sz="1400">
                <a:solidFill>
                  <a:srgbClr val="1A003B"/>
                </a:solidFill>
                <a:sym typeface="Wingdings" panose="05000000000000000000" pitchFamily="2" charset="2"/>
              </a:rPr>
              <a:t>  travail en cours sur la stratégie de filtrage des mesures.</a:t>
            </a:r>
          </a:p>
          <a:p>
            <a:pPr marL="1004888" lvl="4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>
                <a:solidFill>
                  <a:srgbClr val="1A003B"/>
                </a:solidFill>
                <a:sym typeface="Wingdings" panose="05000000000000000000" pitchFamily="2" charset="2"/>
              </a:rPr>
              <a:t>Sur la base de cette mesure, mettre en place, tester et stabiliser ces régulations.</a:t>
            </a:r>
          </a:p>
          <a:p>
            <a:pPr marL="1004888" lvl="4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>
                <a:solidFill>
                  <a:srgbClr val="1A003B"/>
                </a:solidFill>
                <a:sym typeface="Wingdings" panose="05000000000000000000" pitchFamily="2" charset="2"/>
              </a:rPr>
              <a:t>Mise au point d’une méthodologie de mesure de la température du bain d’affinage, fiable et reproductible dans toute la durée d’une campagne : </a:t>
            </a:r>
          </a:p>
          <a:p>
            <a:pPr marL="1366838" lvl="5" indent="-285750" algn="just">
              <a:spcAft>
                <a:spcPts val="600"/>
              </a:spcAft>
            </a:pPr>
            <a:r>
              <a:rPr lang="fr-FR" sz="1400">
                <a:solidFill>
                  <a:srgbClr val="1A003B"/>
                </a:solidFill>
                <a:sym typeface="Wingdings" panose="05000000000000000000" pitchFamily="2" charset="2"/>
              </a:rPr>
              <a:t>Poursuite du développement sur les hublots,</a:t>
            </a:r>
          </a:p>
          <a:p>
            <a:pPr marL="1366838" lvl="5" indent="-285750" algn="just">
              <a:spcAft>
                <a:spcPts val="600"/>
              </a:spcAft>
            </a:pPr>
            <a:r>
              <a:rPr lang="fr-FR" sz="1400">
                <a:solidFill>
                  <a:srgbClr val="1A003B"/>
                </a:solidFill>
                <a:sym typeface="Wingdings" panose="05000000000000000000" pitchFamily="2" charset="2"/>
              </a:rPr>
              <a:t>Identification de nouveaux fournisseurs pour la caméra thermique et travail sur les filtrages à appliquer pour fiabiliser les mesures, notamment pour déconvoluer l’arc plasma du rayonnement du bain liquide.</a:t>
            </a:r>
          </a:p>
          <a:p>
            <a:pPr marL="1004888" lvl="4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>
                <a:solidFill>
                  <a:srgbClr val="1A003B"/>
                </a:solidFill>
                <a:sym typeface="Wingdings" panose="05000000000000000000" pitchFamily="2" charset="2"/>
              </a:rPr>
              <a:t>Mise au point d’une méthodologie de mesure de la surface du bain d’affinage : </a:t>
            </a:r>
          </a:p>
          <a:p>
            <a:pPr marL="1366838" lvl="5" indent="-285750" algn="just">
              <a:spcAft>
                <a:spcPts val="600"/>
              </a:spcAft>
            </a:pPr>
            <a:r>
              <a:rPr lang="fr-FR" sz="1400">
                <a:solidFill>
                  <a:srgbClr val="1A003B"/>
                </a:solidFill>
                <a:sym typeface="Wingdings" panose="05000000000000000000" pitchFamily="2" charset="2"/>
              </a:rPr>
              <a:t>Début du travail sur l’analyse d’image du bain liquide : définir la stratégie de suivi de ce bain d’affinage (surface à suivre, prise en compte de l’influence des torches, reproductibilité sur toutes les élaborations d’une campagne). </a:t>
            </a:r>
            <a:endParaRPr lang="fr-FR" sz="1100">
              <a:solidFill>
                <a:srgbClr val="1A003B"/>
              </a:solidFill>
              <a:sym typeface="Wingdings" panose="05000000000000000000" pitchFamily="2" charset="2"/>
            </a:endParaRPr>
          </a:p>
          <a:p>
            <a:pPr marL="555750" lvl="3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  <a:sym typeface="Wingdings" panose="05000000000000000000" pitchFamily="2" charset="2"/>
              </a:rPr>
              <a:t>Travail de fond sur les flux en cours pour améliorer la gestion des flux et supprimer le risque contamination. </a:t>
            </a:r>
            <a:endParaRPr lang="fr-FR" sz="1100">
              <a:solidFill>
                <a:srgbClr val="1A003B"/>
              </a:solidFill>
              <a:sym typeface="Wingdings" panose="05000000000000000000" pitchFamily="2" charset="2"/>
            </a:endParaRPr>
          </a:p>
          <a:p>
            <a:pPr marL="555750" lvl="3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  <a:sym typeface="Wingdings" panose="05000000000000000000" pitchFamily="2" charset="2"/>
              </a:rPr>
              <a:t>Tests de nettoyage du four plasma : nettoyage de la chambre de fusion par cryogénie validé, à vérifier sur la chambre d’enfournement.</a:t>
            </a:r>
          </a:p>
          <a:p>
            <a:pPr lvl="2" algn="just"/>
            <a:r>
              <a:rPr lang="fr-FR">
                <a:solidFill>
                  <a:srgbClr val="1A003B"/>
                </a:solidFill>
              </a:rPr>
              <a:t>Estimation en cours des investissements </a:t>
            </a:r>
            <a:r>
              <a:rPr lang="fr-FR" err="1">
                <a:solidFill>
                  <a:srgbClr val="1A003B"/>
                </a:solidFill>
              </a:rPr>
              <a:t>EcoTitanium</a:t>
            </a:r>
            <a:r>
              <a:rPr lang="fr-FR">
                <a:solidFill>
                  <a:srgbClr val="1A003B"/>
                </a:solidFill>
              </a:rPr>
              <a:t> liés à cette qualification (voir annexe) : 900 k€.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2A54C39-4F42-45E4-AE46-D523568C285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06E3F47-01EE-47BD-964D-0AC98FE12DD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FF0FF90-6647-4405-8289-C364AA9226C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47448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>
            <a:extLst>
              <a:ext uri="{FF2B5EF4-FFF2-40B4-BE49-F238E27FC236}">
                <a16:creationId xmlns:a16="http://schemas.microsoft.com/office/drawing/2014/main" id="{5A805900-5626-4C23-A9FB-B8AEF23B8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80" y="-318977"/>
            <a:ext cx="8064000" cy="829737"/>
          </a:xfrm>
        </p:spPr>
        <p:txBody>
          <a:bodyPr/>
          <a:lstStyle/>
          <a:p>
            <a:r>
              <a:rPr lang="fr-FR"/>
              <a:t>02- Qualification Premium </a:t>
            </a:r>
            <a:r>
              <a:rPr lang="fr-FR" err="1"/>
              <a:t>Quality</a:t>
            </a:r>
            <a:endParaRPr lang="fr-FR"/>
          </a:p>
        </p:txBody>
      </p:sp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D760A486-E42D-4A8F-BF70-498D1CA38E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088" y="713868"/>
            <a:ext cx="8570384" cy="5964131"/>
          </a:xfrm>
        </p:spPr>
        <p:txBody>
          <a:bodyPr/>
          <a:lstStyle/>
          <a:p>
            <a:pPr marL="269875" lvl="2" indent="-269875" algn="just"/>
            <a:r>
              <a:rPr lang="fr-FR">
                <a:solidFill>
                  <a:srgbClr val="1A003B"/>
                </a:solidFill>
              </a:rPr>
              <a:t>Poursuite du travail sur la gamme de conversion des billettes, notamment sur la contrôlabilité Ultra Son :</a:t>
            </a:r>
            <a:endParaRPr lang="fr-FR">
              <a:solidFill>
                <a:srgbClr val="1A003B"/>
              </a:solidFill>
              <a:cs typeface="Arial"/>
            </a:endParaRPr>
          </a:p>
          <a:p>
            <a:pPr marL="555625" lvl="3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Réalisation de billettes étalons à partir de matière TA6V PQ achetée à Pamiers.</a:t>
            </a:r>
          </a:p>
          <a:p>
            <a:pPr marL="555625" lvl="3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A partir de ces billettes étalons, campagne de test à venir chez le fournisseur de l’installation US d’UKAD, pour vérifier la capabilité de cet équipement vis-à-vis des spécifications Premium </a:t>
            </a:r>
            <a:r>
              <a:rPr lang="fr-FR" err="1">
                <a:solidFill>
                  <a:srgbClr val="1A003B"/>
                </a:solidFill>
              </a:rPr>
              <a:t>Quality</a:t>
            </a:r>
            <a:r>
              <a:rPr lang="fr-FR">
                <a:solidFill>
                  <a:srgbClr val="1A003B"/>
                </a:solidFill>
              </a:rPr>
              <a:t>.</a:t>
            </a:r>
          </a:p>
          <a:p>
            <a:pPr marL="555625" lvl="3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>
              <a:solidFill>
                <a:srgbClr val="1A003B"/>
              </a:solidFill>
            </a:endParaRPr>
          </a:p>
          <a:p>
            <a:pPr marL="555625" lvl="3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Positionnement de la matière UKAD par rapport aux exigences TA6V PQ : envoi à venir de plusieurs billettes UKAD chez MISTRA (USA) pour contrôle sur leur installation qualifié Premium </a:t>
            </a:r>
            <a:r>
              <a:rPr lang="fr-FR" err="1">
                <a:solidFill>
                  <a:srgbClr val="1A003B"/>
                </a:solidFill>
              </a:rPr>
              <a:t>Quality</a:t>
            </a:r>
            <a:r>
              <a:rPr lang="fr-FR">
                <a:solidFill>
                  <a:srgbClr val="1A003B"/>
                </a:solidFill>
              </a:rPr>
              <a:t>. </a:t>
            </a:r>
            <a:endParaRPr lang="fr-FR">
              <a:solidFill>
                <a:schemeClr val="tx1"/>
              </a:solidFill>
              <a:cs typeface="Arial"/>
            </a:endParaRPr>
          </a:p>
          <a:p>
            <a:pPr marL="269875" lvl="2" indent="-269875" algn="just"/>
            <a:endParaRPr lang="fr-FR">
              <a:solidFill>
                <a:srgbClr val="1A003B"/>
              </a:solidFill>
            </a:endParaRPr>
          </a:p>
          <a:p>
            <a:pPr marL="269875" lvl="2" indent="-269875" algn="just"/>
            <a:r>
              <a:rPr lang="fr-FR">
                <a:solidFill>
                  <a:srgbClr val="1A003B"/>
                </a:solidFill>
              </a:rPr>
              <a:t>Points durs conversion dans le cadre d’une route barres à aube :</a:t>
            </a:r>
            <a:endParaRPr lang="fr-FR">
              <a:solidFill>
                <a:srgbClr val="1A003B"/>
              </a:solidFill>
              <a:cs typeface="Arial"/>
            </a:endParaRPr>
          </a:p>
          <a:p>
            <a:pPr marL="555625" lvl="3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Chauffage </a:t>
            </a:r>
            <a:r>
              <a:rPr lang="fr-FR" err="1">
                <a:solidFill>
                  <a:srgbClr val="1A003B"/>
                </a:solidFill>
              </a:rPr>
              <a:t>Ancizes</a:t>
            </a:r>
            <a:r>
              <a:rPr lang="fr-FR">
                <a:solidFill>
                  <a:srgbClr val="1A003B"/>
                </a:solidFill>
              </a:rPr>
              <a:t> </a:t>
            </a:r>
            <a:r>
              <a:rPr lang="fr-FR">
                <a:solidFill>
                  <a:srgbClr val="1A003B"/>
                </a:solidFill>
                <a:sym typeface="Wingdings" panose="05000000000000000000" pitchFamily="2" charset="2"/>
              </a:rPr>
              <a:t></a:t>
            </a:r>
            <a:r>
              <a:rPr lang="fr-FR">
                <a:solidFill>
                  <a:srgbClr val="1A003B"/>
                </a:solidFill>
              </a:rPr>
              <a:t> fours actuels non capables pour de la production série TA6V PQ :</a:t>
            </a:r>
            <a:endParaRPr lang="fr-FR">
              <a:solidFill>
                <a:srgbClr val="1A003B"/>
              </a:solidFill>
              <a:cs typeface="Arial"/>
            </a:endParaRPr>
          </a:p>
          <a:p>
            <a:pPr marL="1004763" lvl="4" indent="-285750" algn="just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5919788" algn="l"/>
              </a:tabLst>
            </a:pPr>
            <a:r>
              <a:rPr lang="fr-FR" sz="1400">
                <a:solidFill>
                  <a:srgbClr val="1A003B"/>
                </a:solidFill>
                <a:cs typeface="Arial"/>
              </a:rPr>
              <a:t>Cibler les cellules les plus homogènes + contrôles températures poussés =&gt; Mise en place rapide.</a:t>
            </a:r>
          </a:p>
          <a:p>
            <a:pPr marL="1004763" lvl="4" indent="-285750" algn="just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5919788" algn="l"/>
              </a:tabLst>
            </a:pPr>
            <a:r>
              <a:rPr lang="fr-FR" sz="1400">
                <a:solidFill>
                  <a:srgbClr val="1A003B"/>
                </a:solidFill>
                <a:cs typeface="Arial"/>
              </a:rPr>
              <a:t>Rétrofit de 2 fours pour atteindre le +/-20 °C  =&gt; Possible fin 2022 ?</a:t>
            </a:r>
          </a:p>
          <a:p>
            <a:pPr marL="1004763" lvl="4" indent="-285750" algn="just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5919788" algn="l"/>
              </a:tabLst>
            </a:pPr>
            <a:r>
              <a:rPr lang="fr-FR" sz="1400">
                <a:solidFill>
                  <a:srgbClr val="1A003B"/>
                </a:solidFill>
                <a:cs typeface="Arial"/>
              </a:rPr>
              <a:t>Investissement chauffeuse stationnaire (induction) =&gt; Eté 2023 ?</a:t>
            </a:r>
          </a:p>
          <a:p>
            <a:pPr marL="555625" lvl="3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Laminage </a:t>
            </a:r>
            <a:r>
              <a:rPr lang="fr-FR" err="1">
                <a:solidFill>
                  <a:srgbClr val="1A003B"/>
                </a:solidFill>
              </a:rPr>
              <a:t>Ancizes</a:t>
            </a:r>
            <a:r>
              <a:rPr lang="fr-FR">
                <a:solidFill>
                  <a:srgbClr val="1A003B"/>
                </a:solidFill>
              </a:rPr>
              <a:t> </a:t>
            </a:r>
            <a:r>
              <a:rPr lang="fr-FR">
                <a:solidFill>
                  <a:srgbClr val="1A003B"/>
                </a:solidFill>
                <a:sym typeface="Wingdings" panose="05000000000000000000" pitchFamily="2" charset="2"/>
              </a:rPr>
              <a:t></a:t>
            </a:r>
            <a:r>
              <a:rPr lang="fr-FR">
                <a:solidFill>
                  <a:srgbClr val="1A003B"/>
                </a:solidFill>
              </a:rPr>
              <a:t> très peu d’expédience industrielle :</a:t>
            </a:r>
            <a:endParaRPr lang="fr-FR" sz="1200" b="1">
              <a:solidFill>
                <a:srgbClr val="FF0000"/>
              </a:solidFill>
            </a:endParaRPr>
          </a:p>
          <a:p>
            <a:pPr marL="1004763" lvl="4" indent="-285750" algn="just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5919788" algn="l"/>
              </a:tabLst>
            </a:pPr>
            <a:r>
              <a:rPr lang="fr-FR" sz="1400">
                <a:solidFill>
                  <a:srgbClr val="1A003B"/>
                </a:solidFill>
                <a:cs typeface="Arial"/>
              </a:rPr>
              <a:t>Mise au point métallurgique, géométrie et rendement à valider.</a:t>
            </a:r>
          </a:p>
          <a:p>
            <a:pPr marL="555625" lvl="3" indent="-285750" algn="just"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Parachèvement : ne pouvant pas se faire sur les </a:t>
            </a:r>
            <a:r>
              <a:rPr lang="fr-FR" err="1">
                <a:solidFill>
                  <a:srgbClr val="1A003B"/>
                </a:solidFill>
              </a:rPr>
              <a:t>Ancizes</a:t>
            </a:r>
            <a:r>
              <a:rPr lang="fr-FR">
                <a:solidFill>
                  <a:srgbClr val="1A003B"/>
                </a:solidFill>
              </a:rPr>
              <a:t>, il faut trouver des prestataires. Action en cours avec notamment METALTEC pour le redressage, écroutage et US.</a:t>
            </a:r>
          </a:p>
          <a:p>
            <a:pPr marL="1004570" lvl="4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>
              <a:solidFill>
                <a:srgbClr val="1A003B"/>
              </a:solidFill>
              <a:cs typeface="Arial"/>
            </a:endParaRPr>
          </a:p>
          <a:p>
            <a:pPr marL="555625" lvl="3" indent="-285750" algn="just"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Charge laboratoire plus importante (équipe LESM </a:t>
            </a:r>
            <a:r>
              <a:rPr lang="fr-FR" err="1">
                <a:solidFill>
                  <a:srgbClr val="1A003B"/>
                </a:solidFill>
              </a:rPr>
              <a:t>Ancizes</a:t>
            </a:r>
            <a:r>
              <a:rPr lang="fr-FR">
                <a:solidFill>
                  <a:srgbClr val="1A003B"/>
                </a:solidFill>
              </a:rPr>
              <a:t>) - En cours de dimensionnement, selon les exigences GE/Safran sur le nombre de prélèvements par barres.</a:t>
            </a:r>
            <a:endParaRPr lang="fr-FR" sz="200">
              <a:solidFill>
                <a:srgbClr val="1A003B"/>
              </a:solidFill>
              <a:cs typeface="Arial"/>
            </a:endParaRPr>
          </a:p>
          <a:p>
            <a:pPr marL="5557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fr-FR" sz="1500" b="0"/>
          </a:p>
          <a:p>
            <a:pPr marL="5557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fr-FR" sz="1500" b="0"/>
          </a:p>
          <a:p>
            <a:pPr>
              <a:lnSpc>
                <a:spcPct val="150000"/>
              </a:lnSpc>
            </a:pPr>
            <a:endParaRPr lang="fr-FR" sz="150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2A54C39-4F42-45E4-AE46-D523568C285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06E3F47-01EE-47BD-964D-0AC98FE12DD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FF0FF90-6647-4405-8289-C364AA9226C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1</a:t>
            </a:fld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EFBF6A0B-38DA-4CC4-90A8-9A408E07C2F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9752590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2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03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24" name="Espace réservé du texte 23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fr-FR"/>
              <a:t>Point Commercial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4294967295"/>
          </p:nvPr>
        </p:nvSpPr>
        <p:spPr bwMode="gray">
          <a:xfrm>
            <a:off x="0" y="-11113"/>
            <a:ext cx="3576638" cy="1735138"/>
          </a:xfrm>
        </p:spPr>
        <p:txBody>
          <a:bodyPr/>
          <a:lstStyle/>
          <a:p>
            <a:r>
              <a:rPr lang="fr-FR"/>
              <a:t> 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1903389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5724" y="0"/>
            <a:ext cx="8991601" cy="567359"/>
          </a:xfrm>
        </p:spPr>
        <p:txBody>
          <a:bodyPr/>
          <a:lstStyle/>
          <a:p>
            <a:r>
              <a:rPr lang="fr-FR" sz="2100"/>
              <a:t>Commandes 2022 YTD &amp; Perspectives nouveaux développements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dirty="0" smtClean="0">
                <a:solidFill>
                  <a:srgbClr val="FA6414"/>
                </a:solidFill>
              </a:rPr>
              <a:pPr/>
              <a:t>13</a:t>
            </a:fld>
            <a:endParaRPr lang="fr-FR">
              <a:solidFill>
                <a:srgbClr val="FA6414"/>
              </a:solidFill>
            </a:endParaRPr>
          </a:p>
        </p:txBody>
      </p:sp>
      <p:sp>
        <p:nvSpPr>
          <p:cNvPr id="10" name="Espace réservé du pied de page 5"/>
          <p:cNvSpPr>
            <a:spLocks noGrp="1"/>
          </p:cNvSpPr>
          <p:nvPr>
            <p:ph type="ftr" sz="quarter" idx="15"/>
          </p:nvPr>
        </p:nvSpPr>
        <p:spPr>
          <a:xfrm>
            <a:off x="862088" y="6377614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8" name="Espace réservé du contenu 10"/>
          <p:cNvSpPr txBox="1">
            <a:spLocks/>
          </p:cNvSpPr>
          <p:nvPr/>
        </p:nvSpPr>
        <p:spPr bwMode="gray">
          <a:xfrm>
            <a:off x="366205" y="670837"/>
            <a:ext cx="8046275" cy="61871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4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just">
              <a:buFont typeface="Arial" panose="020B0604020202020204" pitchFamily="34" charset="0"/>
              <a:buChar char="•"/>
            </a:pPr>
            <a:r>
              <a:rPr lang="fr-FR" sz="1600" u="sng">
                <a:solidFill>
                  <a:srgbClr val="1A003B"/>
                </a:solidFill>
              </a:rPr>
              <a:t>Commandes &amp; Business</a:t>
            </a:r>
            <a:r>
              <a:rPr lang="fr-FR" sz="1600">
                <a:solidFill>
                  <a:srgbClr val="1A003B"/>
                </a:solidFill>
              </a:rPr>
              <a:t> :</a:t>
            </a:r>
          </a:p>
          <a:p>
            <a:pPr lvl="3" algn="just">
              <a:buFont typeface="Wingdings" panose="05000000000000000000" pitchFamily="2" charset="2"/>
              <a:buChar char="ü"/>
            </a:pPr>
            <a:r>
              <a:rPr lang="fr-FR" b="0"/>
              <a:t> A&amp;D Pamiers / AIRBUS Pièces « </a:t>
            </a:r>
            <a:r>
              <a:rPr lang="fr-FR" b="0" err="1"/>
              <a:t>Gear</a:t>
            </a:r>
            <a:r>
              <a:rPr lang="fr-FR" b="0"/>
              <a:t> Beam A350-900 »: Billettes TA6V Ø330mm </a:t>
            </a:r>
            <a:r>
              <a:rPr lang="fr-FR" b="0">
                <a:sym typeface="Wingdings 3" panose="05040102010807070707" pitchFamily="18" charset="2"/>
              </a:rPr>
              <a:t> </a:t>
            </a:r>
            <a:r>
              <a:rPr lang="fr-FR">
                <a:sym typeface="Wingdings 3" panose="05040102010807070707" pitchFamily="18" charset="2"/>
              </a:rPr>
              <a:t>5</a:t>
            </a:r>
            <a:r>
              <a:rPr lang="fr-FR" b="0"/>
              <a:t> T Octobre 2022. Commande « multi challenges » business EcoTitanium / éponges AMIC / conversion Gamme En Rupture.</a:t>
            </a:r>
          </a:p>
          <a:p>
            <a:pPr lvl="3" algn="just">
              <a:buFont typeface="Wingdings" panose="05000000000000000000" pitchFamily="2" charset="2"/>
              <a:buChar char="ü"/>
            </a:pPr>
            <a:r>
              <a:rPr lang="fr-FR" b="0"/>
              <a:t> METTIS AEROSPACE : Ø300mm / 1 T pour qualification pièces A320 NEO. Ce nouveau flux sera qualifié avec source EcoTitanium et Gamme En Rupture.</a:t>
            </a:r>
          </a:p>
          <a:p>
            <a:pPr lvl="3" algn="just">
              <a:buFont typeface="Wingdings" panose="05000000000000000000" pitchFamily="2" charset="2"/>
              <a:buChar char="ü"/>
            </a:pPr>
            <a:r>
              <a:rPr lang="fr-FR" b="0"/>
              <a:t>OTTO FUCHS : Billettes TA6V Ø140mm et Ø190mm </a:t>
            </a:r>
            <a:r>
              <a:rPr lang="fr-FR" b="0">
                <a:sym typeface="Wingdings 3" panose="05040102010807070707" pitchFamily="18" charset="2"/>
              </a:rPr>
              <a:t> 3,6 T / €107k Octobre 2022 / Défense.</a:t>
            </a:r>
          </a:p>
          <a:p>
            <a:pPr lvl="3" algn="just">
              <a:buFont typeface="Wingdings" panose="05000000000000000000" pitchFamily="2" charset="2"/>
              <a:buChar char="ü"/>
            </a:pPr>
            <a:r>
              <a:rPr lang="fr-FR"/>
              <a:t>TAI Hélicoptère </a:t>
            </a:r>
            <a:r>
              <a:rPr lang="fr-FR" err="1"/>
              <a:t>Multirôle</a:t>
            </a:r>
            <a:r>
              <a:rPr lang="fr-FR"/>
              <a:t> (civil &amp; militaire) GÖKBEY : Ronds TA6V </a:t>
            </a:r>
            <a:r>
              <a:rPr lang="fr-FR" b="0">
                <a:sym typeface="Wingdings 3" panose="05040102010807070707" pitchFamily="18" charset="2"/>
              </a:rPr>
              <a:t> 9 T / €330k Juin 2022.</a:t>
            </a:r>
            <a:r>
              <a:rPr lang="fr-FR"/>
              <a:t> Jusqu’à 400 T par an de besoins Titane (tous produits) à horizon 2025 (9 T / AC) sur ce nouvel Hélicoptère.</a:t>
            </a:r>
            <a:endParaRPr lang="fr-FR" b="0">
              <a:sym typeface="Wingdings 3" panose="05040102010807070707" pitchFamily="18" charset="2"/>
            </a:endParaRPr>
          </a:p>
          <a:p>
            <a:pPr lvl="3" algn="just">
              <a:buFont typeface="Wingdings" panose="05000000000000000000" pitchFamily="2" charset="2"/>
              <a:buChar char="ü"/>
            </a:pPr>
            <a:r>
              <a:rPr lang="fr-FR">
                <a:sym typeface="Wingdings 3" panose="05040102010807070707" pitchFamily="18" charset="2"/>
              </a:rPr>
              <a:t> GATTEFIN (MBDA) : Blocs Forgés TA6V cf. Programme Missile MBDA. Tranche I en cours de livraison, Tranche II = 12 Tonnes / €474k, livraison Juillet 2022. </a:t>
            </a:r>
            <a:r>
              <a:rPr lang="fr-FR"/>
              <a:t>Puis encore 30 T ˜ est. sur fin 2022 / 2023 (conditionné par succès OTD/Qualité 1</a:t>
            </a:r>
            <a:r>
              <a:rPr lang="fr-FR" baseline="30000"/>
              <a:t>ère</a:t>
            </a:r>
            <a:r>
              <a:rPr lang="fr-FR"/>
              <a:t> Tranche en cours). Programme final de l’ordre de 100 T à 200 T potentiel horizon 2024/2025. </a:t>
            </a:r>
            <a:r>
              <a:rPr lang="fr-FR" u="sng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rget de rester à 100% UKAD</a:t>
            </a:r>
            <a:r>
              <a:rPr lang="fr-FR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 intéressant new job Défense / Souveraineté Nationale à capitaliser</a:t>
            </a:r>
            <a:r>
              <a:rPr lang="fr-FR"/>
              <a:t>. </a:t>
            </a:r>
            <a:r>
              <a:rPr lang="fr-FR" b="1" u="sng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urce EcoTitanium reconnue comme stratégique sur ce nouveau Programme Défense.</a:t>
            </a:r>
            <a:endParaRPr lang="fr-FR">
              <a:solidFill>
                <a:srgbClr val="1A003B"/>
              </a:solidFill>
            </a:endParaRPr>
          </a:p>
          <a:p>
            <a:pPr marL="0" lvl="2" indent="0" algn="just">
              <a:buNone/>
            </a:pPr>
            <a:endParaRPr lang="fr-FR" sz="1600" u="sng">
              <a:solidFill>
                <a:srgbClr val="1A003B"/>
              </a:solidFill>
            </a:endParaRPr>
          </a:p>
          <a:p>
            <a:pPr lvl="2" algn="just">
              <a:buFont typeface="Arial" panose="020B0604020202020204" pitchFamily="34" charset="0"/>
              <a:buChar char="•"/>
            </a:pPr>
            <a:r>
              <a:rPr lang="fr-FR" sz="1600" u="sng">
                <a:solidFill>
                  <a:srgbClr val="1A003B"/>
                </a:solidFill>
              </a:rPr>
              <a:t>Autres Marchés &amp; Développements </a:t>
            </a:r>
            <a:r>
              <a:rPr lang="fr-FR" sz="1600">
                <a:solidFill>
                  <a:srgbClr val="1A003B"/>
                </a:solidFill>
              </a:rPr>
              <a:t>:</a:t>
            </a:r>
            <a:endParaRPr lang="fr-FR" sz="1600"/>
          </a:p>
          <a:p>
            <a:pPr marL="555750" lvl="3" indent="-285750" algn="just">
              <a:buFont typeface="Wingdings" panose="05000000000000000000" pitchFamily="2" charset="2"/>
              <a:buChar char="ü"/>
            </a:pPr>
            <a:r>
              <a:rPr lang="fr-FR">
                <a:solidFill>
                  <a:srgbClr val="1A003B"/>
                </a:solidFill>
              </a:rPr>
              <a:t>A&amp;D Pamiers / BOMBARDIER : Discussion sur nouvelles pièces A220 Ø155mm à Ø240mm Potentiel nouveau marché @ 100 T par an (= 20 Lingots par an). </a:t>
            </a:r>
          </a:p>
          <a:p>
            <a:pPr marL="555750" lvl="3" indent="-285750" algn="just">
              <a:buFont typeface="Wingdings" panose="05000000000000000000" pitchFamily="2" charset="2"/>
              <a:buChar char="ü"/>
            </a:pPr>
            <a:r>
              <a:rPr lang="fr-FR">
                <a:solidFill>
                  <a:srgbClr val="1A003B"/>
                </a:solidFill>
              </a:rPr>
              <a:t>Avec Qualification générique AIRBUS : tout nouveau flux / new parts (notamment A320 NEO) à aiguiller avec Lingot Source EcoTitanium. </a:t>
            </a:r>
          </a:p>
          <a:p>
            <a:pPr marL="555750" lvl="3" indent="-285750" algn="just">
              <a:buFont typeface="Wingdings" panose="05000000000000000000" pitchFamily="2" charset="2"/>
              <a:buChar char="ü"/>
            </a:pPr>
            <a:r>
              <a:rPr lang="fr-FR">
                <a:solidFill>
                  <a:srgbClr val="1A003B"/>
                </a:solidFill>
              </a:rPr>
              <a:t>A&amp;D Pamiers / DASSAULT : New Business Jet F10X, Billettes Ø330mm EcoTitanium. Volume annuel à 30 T à maturité Programme (horizon 2023/2024). </a:t>
            </a:r>
            <a:endParaRPr lang="fr-FR" sz="1200"/>
          </a:p>
          <a:p>
            <a:pPr lvl="3" algn="just"/>
            <a:endParaRPr lang="fr-FR"/>
          </a:p>
          <a:p>
            <a:pPr marL="0" lvl="2" indent="0" algn="just">
              <a:buNone/>
            </a:pPr>
            <a:endParaRPr lang="fr-FR">
              <a:solidFill>
                <a:srgbClr val="1A00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01271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20548"/>
            <a:ext cx="9143999" cy="567359"/>
          </a:xfrm>
        </p:spPr>
        <p:txBody>
          <a:bodyPr/>
          <a:lstStyle/>
          <a:p>
            <a:r>
              <a:rPr lang="fr-FR"/>
              <a:t>Nouveaux Développements Commerciaux : </a:t>
            </a:r>
            <a:r>
              <a:rPr lang="fr-FR" err="1"/>
              <a:t>RFQs</a:t>
            </a:r>
            <a:r>
              <a:rPr lang="fr-FR"/>
              <a:t> &amp; Projets en cours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14</a:t>
            </a:fld>
            <a:endParaRPr lang="fr-FR">
              <a:solidFill>
                <a:srgbClr val="FA6414"/>
              </a:solidFill>
            </a:endParaRPr>
          </a:p>
        </p:txBody>
      </p:sp>
      <p:sp>
        <p:nvSpPr>
          <p:cNvPr id="10" name="Espace réservé du pied de page 5"/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8" name="Espace réservé du contenu 10"/>
          <p:cNvSpPr txBox="1">
            <a:spLocks/>
          </p:cNvSpPr>
          <p:nvPr/>
        </p:nvSpPr>
        <p:spPr bwMode="gray">
          <a:xfrm>
            <a:off x="292350" y="704324"/>
            <a:ext cx="8813550" cy="56853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just">
              <a:buNone/>
            </a:pPr>
            <a:endParaRPr lang="fr-FR">
              <a:solidFill>
                <a:srgbClr val="1A003B"/>
              </a:solidFill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FDF2035-7A01-47D6-9D5C-F460E52AA0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5072" y="1433762"/>
            <a:ext cx="8790432" cy="2902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3094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2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04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24" name="Espace réservé du texte 23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fr-FR"/>
              <a:t>Situation financière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4294967295"/>
          </p:nvPr>
        </p:nvSpPr>
        <p:spPr bwMode="gray">
          <a:xfrm>
            <a:off x="0" y="-11113"/>
            <a:ext cx="3576638" cy="1735138"/>
          </a:xfrm>
        </p:spPr>
        <p:txBody>
          <a:bodyPr/>
          <a:lstStyle/>
          <a:p>
            <a:r>
              <a:rPr lang="fr-FR"/>
              <a:t> 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0624366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24" name="Espace réservé du texte 23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fr-FR"/>
              <a:t>Bilan financier 2021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4294967295"/>
          </p:nvPr>
        </p:nvSpPr>
        <p:spPr bwMode="gray">
          <a:xfrm>
            <a:off x="0" y="-11113"/>
            <a:ext cx="3576638" cy="1735138"/>
          </a:xfrm>
        </p:spPr>
        <p:txBody>
          <a:bodyPr/>
          <a:lstStyle/>
          <a:p>
            <a:r>
              <a:rPr lang="fr-FR"/>
              <a:t> 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2148444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91447223-6B10-4611-BA9D-BD865ACB0E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098" name="Diapositive think-cell" r:id="rId5" imgW="395" imgH="394" progId="TCLayout.ActiveDocument.1">
                  <p:embed/>
                </p:oleObj>
              </mc:Choice>
              <mc:Fallback>
                <p:oleObj name="Diapositive think-cell" r:id="rId5" imgW="395" imgH="394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91447223-6B10-4611-BA9D-BD865ACB0E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75C3DB1-036A-4B43-8701-921DFCC020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16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0000" y="0"/>
            <a:ext cx="8064000" cy="569843"/>
          </a:xfrm>
        </p:spPr>
        <p:txBody>
          <a:bodyPr/>
          <a:lstStyle/>
          <a:p>
            <a:pPr lvl="2" defTabSz="914400">
              <a:spcBef>
                <a:spcPts val="400"/>
              </a:spcBef>
              <a:buSzPct val="100000"/>
            </a:pPr>
            <a:r>
              <a:rPr lang="fr-FR" sz="2200" b="1">
                <a:solidFill>
                  <a:srgbClr val="1A003B"/>
                </a:solidFill>
                <a:latin typeface="Arial"/>
              </a:rPr>
              <a:t>P&amp;L - Décembre 2021 YTD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17</a:t>
            </a:fld>
            <a:endParaRPr lang="fr-FR">
              <a:solidFill>
                <a:srgbClr val="FA6414"/>
              </a:solidFill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A69B9FC1-7151-4603-AB9C-092E64FB8D90}"/>
              </a:ext>
            </a:extLst>
          </p:cNvPr>
          <p:cNvSpPr txBox="1"/>
          <p:nvPr/>
        </p:nvSpPr>
        <p:spPr>
          <a:xfrm>
            <a:off x="263173" y="1011944"/>
            <a:ext cx="413654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>
                <a:solidFill>
                  <a:schemeClr val="tx2"/>
                </a:solidFill>
              </a:rPr>
              <a:t>Pour rappel le Budget 2021 a été élaboré sur la base d’un scénario « cocon ».</a:t>
            </a:r>
          </a:p>
          <a:p>
            <a:endParaRPr lang="fr-FR" sz="1400">
              <a:solidFill>
                <a:schemeClr val="tx2"/>
              </a:solidFill>
            </a:endParaRPr>
          </a:p>
          <a:p>
            <a:endParaRPr lang="fr-FR" sz="1400">
              <a:solidFill>
                <a:schemeClr val="tx2"/>
              </a:solidFill>
            </a:endParaRPr>
          </a:p>
          <a:p>
            <a:r>
              <a:rPr lang="fr-FR" sz="1400">
                <a:solidFill>
                  <a:schemeClr val="tx2"/>
                </a:solidFill>
              </a:rPr>
              <a:t>Dans le réel, le personnel a été réintégré courant avril 2021 (fin du chômage partiel / détachements).</a:t>
            </a:r>
          </a:p>
          <a:p>
            <a:endParaRPr lang="fr-FR" sz="140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>
                <a:solidFill>
                  <a:schemeClr val="tx2"/>
                </a:solidFill>
              </a:rPr>
              <a:t>CA : 31 lingots vendus (vs 20 dans le scénario redémarrag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>
                <a:solidFill>
                  <a:schemeClr val="tx2"/>
                </a:solidFill>
              </a:rPr>
              <a:t>La marge matière est élevée en raison de reprise de provision sur stocks faites fin 2020 (+1 M€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>
                <a:solidFill>
                  <a:schemeClr val="tx2"/>
                </a:solidFill>
              </a:rPr>
              <a:t>Produits divers : mise à disposition de personnel (surtout sur le T1 2021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>
                <a:solidFill>
                  <a:schemeClr val="tx2"/>
                </a:solidFill>
              </a:rPr>
              <a:t>Amortissement : impact de la reprise de l’</a:t>
            </a:r>
            <a:r>
              <a:rPr lang="fr-FR" sz="1400" err="1">
                <a:solidFill>
                  <a:schemeClr val="tx2"/>
                </a:solidFill>
              </a:rPr>
              <a:t>impairment</a:t>
            </a:r>
            <a:r>
              <a:rPr lang="fr-FR" sz="1400">
                <a:solidFill>
                  <a:schemeClr val="tx2"/>
                </a:solidFill>
              </a:rPr>
              <a:t> test qui justifie l’écart au budg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>
              <a:solidFill>
                <a:schemeClr val="tx2"/>
              </a:solidFill>
            </a:endParaRPr>
          </a:p>
          <a:p>
            <a:endParaRPr lang="fr-FR" sz="1400">
              <a:solidFill>
                <a:schemeClr val="tx2"/>
              </a:solidFill>
            </a:endParaRPr>
          </a:p>
          <a:p>
            <a:r>
              <a:rPr lang="fr-FR" sz="1400" b="1">
                <a:solidFill>
                  <a:schemeClr val="tx2"/>
                </a:solidFill>
              </a:rPr>
              <a:t>L’EBITDA ressort en amélioration de +1,7 M€ vs Budget.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7B2A8FAA-10F8-4918-A5BC-8F9202C9D5D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BFC2EE63-38D6-4473-BD14-006477129F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81961" y="657686"/>
            <a:ext cx="4541747" cy="5544000"/>
          </a:xfrm>
          <a:prstGeom prst="rect">
            <a:avLst/>
          </a:prstGeom>
        </p:spPr>
      </p:pic>
      <p:sp>
        <p:nvSpPr>
          <p:cNvPr id="13" name="Espace réservé du pied de page 5">
            <a:extLst>
              <a:ext uri="{FF2B5EF4-FFF2-40B4-BE49-F238E27FC236}">
                <a16:creationId xmlns:a16="http://schemas.microsoft.com/office/drawing/2014/main" id="{3729D817-EA12-45BA-AD8F-B2766B5385A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74280" y="6229258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</p:spTree>
    <p:extLst>
      <p:ext uri="{BB962C8B-B14F-4D97-AF65-F5344CB8AC3E}">
        <p14:creationId xmlns:p14="http://schemas.microsoft.com/office/powerpoint/2010/main" val="17002353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91447223-6B10-4611-BA9D-BD865ACB0E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2" name="Diapositive think-cell" r:id="rId5" imgW="395" imgH="394" progId="TCLayout.ActiveDocument.1">
                  <p:embed/>
                </p:oleObj>
              </mc:Choice>
              <mc:Fallback>
                <p:oleObj name="Diapositive think-cell" r:id="rId5" imgW="395" imgH="394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91447223-6B10-4611-BA9D-BD865ACB0E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75C3DB1-036A-4B43-8701-921DFCC020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16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0000" y="-26503"/>
            <a:ext cx="8064000" cy="622852"/>
          </a:xfrm>
        </p:spPr>
        <p:txBody>
          <a:bodyPr/>
          <a:lstStyle/>
          <a:p>
            <a:pPr lvl="2" defTabSz="914400">
              <a:spcBef>
                <a:spcPts val="400"/>
              </a:spcBef>
              <a:buSzPct val="100000"/>
            </a:pPr>
            <a:r>
              <a:rPr lang="fr-FR" sz="2200" b="1">
                <a:solidFill>
                  <a:srgbClr val="1A003B"/>
                </a:solidFill>
                <a:latin typeface="Arial"/>
              </a:rPr>
              <a:t>Cash Flow - Décembre 2021 YTD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18</a:t>
            </a:fld>
            <a:endParaRPr lang="fr-FR">
              <a:solidFill>
                <a:srgbClr val="FA6414"/>
              </a:solidFill>
            </a:endParaRPr>
          </a:p>
        </p:txBody>
      </p:sp>
      <p:sp>
        <p:nvSpPr>
          <p:cNvPr id="12" name="Espace réservé du pied de page 5">
            <a:extLst>
              <a:ext uri="{FF2B5EF4-FFF2-40B4-BE49-F238E27FC236}">
                <a16:creationId xmlns:a16="http://schemas.microsoft.com/office/drawing/2014/main" id="{0CFFAF40-C728-42DE-84CC-D5228A3916B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 err="1"/>
              <a:t>EcoTitanium</a:t>
            </a:r>
            <a:r>
              <a:rPr lang="fr-FR"/>
              <a:t> – </a:t>
            </a:r>
            <a:r>
              <a:rPr lang="fr-FR" err="1"/>
              <a:t>CdS</a:t>
            </a:r>
            <a:r>
              <a:rPr lang="fr-FR"/>
              <a:t> Oct21 - CONFIDENTIEL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A69B9FC1-7151-4603-AB9C-092E64FB8D90}"/>
              </a:ext>
            </a:extLst>
          </p:cNvPr>
          <p:cNvSpPr txBox="1"/>
          <p:nvPr/>
        </p:nvSpPr>
        <p:spPr>
          <a:xfrm>
            <a:off x="4865943" y="2988039"/>
            <a:ext cx="4101507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>
                <a:solidFill>
                  <a:schemeClr val="tx2"/>
                </a:solidFill>
              </a:rPr>
              <a:t>Le budget était un besoin de 4 M€ sur la ligne de prêt Groupe A&amp;D en 2021.</a:t>
            </a:r>
          </a:p>
          <a:p>
            <a:endParaRPr lang="fr-FR" sz="1400">
              <a:solidFill>
                <a:schemeClr val="tx2"/>
              </a:solidFill>
            </a:endParaRPr>
          </a:p>
          <a:p>
            <a:r>
              <a:rPr lang="fr-FR" sz="1400">
                <a:solidFill>
                  <a:schemeClr val="tx2"/>
                </a:solidFill>
              </a:rPr>
              <a:t>Sur 2021, le tirage a été de 2,2 M€.</a:t>
            </a:r>
          </a:p>
          <a:p>
            <a:endParaRPr lang="fr-FR" sz="140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400">
                <a:solidFill>
                  <a:schemeClr val="tx2"/>
                </a:solidFill>
              </a:rPr>
              <a:t>Le FCF est négatif à hauteur de -1,0 M€ mais supérieur au budg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40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400">
                <a:solidFill>
                  <a:schemeClr val="tx2"/>
                </a:solidFill>
              </a:rPr>
              <a:t>BFR relativement st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40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400">
                <a:solidFill>
                  <a:schemeClr val="tx2"/>
                </a:solidFill>
              </a:rPr>
              <a:t>Le remboursement du prêt CACF/BPI (nominal 20 M€) a redémarré depuis octobre 2021 à -193 k€ de capital par mois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3CA7A4DB-8123-4663-9651-6F4A1258228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graphicFrame>
        <p:nvGraphicFramePr>
          <p:cNvPr id="4" name="Tableau 7">
            <a:extLst>
              <a:ext uri="{FF2B5EF4-FFF2-40B4-BE49-F238E27FC236}">
                <a16:creationId xmlns:a16="http://schemas.microsoft.com/office/drawing/2014/main" id="{687320EA-4767-4A93-AEDB-B589E7FE1B84}"/>
              </a:ext>
            </a:extLst>
          </p:cNvPr>
          <p:cNvGraphicFramePr>
            <a:graphicFrameLocks noGrp="1"/>
          </p:cNvGraphicFramePr>
          <p:nvPr/>
        </p:nvGraphicFramePr>
        <p:xfrm>
          <a:off x="176549" y="1051560"/>
          <a:ext cx="4393518" cy="47548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134562">
                  <a:extLst>
                    <a:ext uri="{9D8B030D-6E8A-4147-A177-3AD203B41FA5}">
                      <a16:colId xmlns:a16="http://schemas.microsoft.com/office/drawing/2014/main" val="2188678973"/>
                    </a:ext>
                  </a:extLst>
                </a:gridCol>
                <a:gridCol w="1258956">
                  <a:extLst>
                    <a:ext uri="{9D8B030D-6E8A-4147-A177-3AD203B41FA5}">
                      <a16:colId xmlns:a16="http://schemas.microsoft.com/office/drawing/2014/main" val="2726505005"/>
                    </a:ext>
                  </a:extLst>
                </a:gridCol>
              </a:tblGrid>
              <a:tr h="260287">
                <a:tc>
                  <a:txBody>
                    <a:bodyPr/>
                    <a:lstStyle/>
                    <a:p>
                      <a:endParaRPr lang="fr-FR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/>
                        <a:t>Bilan 20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3794330"/>
                  </a:ext>
                </a:extLst>
              </a:tr>
              <a:tr h="449587">
                <a:tc>
                  <a:txBody>
                    <a:bodyPr/>
                    <a:lstStyle/>
                    <a:p>
                      <a:r>
                        <a:rPr lang="fr-FR" sz="1600" b="1"/>
                        <a:t>Dette nette ouverture (01/01/21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b="1"/>
                        <a:t>-53,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636459"/>
                  </a:ext>
                </a:extLst>
              </a:tr>
              <a:tr h="260287">
                <a:tc>
                  <a:txBody>
                    <a:bodyPr/>
                    <a:lstStyle/>
                    <a:p>
                      <a:endParaRPr lang="fr-FR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fr-FR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3963909"/>
                  </a:ext>
                </a:extLst>
              </a:tr>
              <a:tr h="260287">
                <a:tc>
                  <a:txBody>
                    <a:bodyPr/>
                    <a:lstStyle/>
                    <a:p>
                      <a:r>
                        <a:rPr lang="fr-FR" sz="1600"/>
                        <a:t>EBIT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/>
                        <a:t>-0,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0302087"/>
                  </a:ext>
                </a:extLst>
              </a:tr>
              <a:tr h="260287">
                <a:tc>
                  <a:txBody>
                    <a:bodyPr/>
                    <a:lstStyle/>
                    <a:p>
                      <a:r>
                        <a:rPr lang="fr-FR" sz="1600"/>
                        <a:t>Var. BF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/>
                        <a:t>0,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2611389"/>
                  </a:ext>
                </a:extLst>
              </a:tr>
              <a:tr h="260287">
                <a:tc>
                  <a:txBody>
                    <a:bodyPr/>
                    <a:lstStyle/>
                    <a:p>
                      <a:r>
                        <a:rPr lang="fr-FR" sz="1600"/>
                        <a:t>CAPE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3890039"/>
                  </a:ext>
                </a:extLst>
              </a:tr>
              <a:tr h="260287">
                <a:tc>
                  <a:txBody>
                    <a:bodyPr/>
                    <a:lstStyle/>
                    <a:p>
                      <a:r>
                        <a:rPr lang="fr-FR" sz="1600" b="1"/>
                        <a:t>Free Cash F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b="1"/>
                        <a:t>-0,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2542556"/>
                  </a:ext>
                </a:extLst>
              </a:tr>
              <a:tr h="260287">
                <a:tc>
                  <a:txBody>
                    <a:bodyPr/>
                    <a:lstStyle/>
                    <a:p>
                      <a:endParaRPr lang="fr-FR" sz="1600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fr-FR" sz="1600" b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0112385"/>
                  </a:ext>
                </a:extLst>
              </a:tr>
              <a:tr h="260287">
                <a:tc>
                  <a:txBody>
                    <a:bodyPr/>
                    <a:lstStyle/>
                    <a:p>
                      <a:r>
                        <a:rPr lang="fr-FR" sz="1600"/>
                        <a:t>Intérêts (CACF, BP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/>
                        <a:t>-0,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4244"/>
                  </a:ext>
                </a:extLst>
              </a:tr>
              <a:tr h="449587">
                <a:tc>
                  <a:txBody>
                    <a:bodyPr/>
                    <a:lstStyle/>
                    <a:p>
                      <a:r>
                        <a:rPr lang="fr-FR" sz="1600"/>
                        <a:t>Intérêts prêts BEI / A&amp;D - non payé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/>
                        <a:t>-1,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8346243"/>
                  </a:ext>
                </a:extLst>
              </a:tr>
              <a:tr h="260287">
                <a:tc>
                  <a:txBody>
                    <a:bodyPr/>
                    <a:lstStyle/>
                    <a:p>
                      <a:endParaRPr lang="fr-FR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fr-FR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4590855"/>
                  </a:ext>
                </a:extLst>
              </a:tr>
              <a:tr h="449587">
                <a:tc>
                  <a:txBody>
                    <a:bodyPr/>
                    <a:lstStyle/>
                    <a:p>
                      <a:r>
                        <a:rPr lang="fr-FR" sz="1600" b="1"/>
                        <a:t>Dette nette clôture</a:t>
                      </a:r>
                    </a:p>
                    <a:p>
                      <a:r>
                        <a:rPr lang="fr-FR" sz="1600" b="1"/>
                        <a:t>(31/12/21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b="1"/>
                        <a:t>-55,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4328061"/>
                  </a:ext>
                </a:extLst>
              </a:tr>
            </a:tbl>
          </a:graphicData>
        </a:graphic>
      </p:graphicFrame>
      <p:pic>
        <p:nvPicPr>
          <p:cNvPr id="9" name="Image 8">
            <a:extLst>
              <a:ext uri="{FF2B5EF4-FFF2-40B4-BE49-F238E27FC236}">
                <a16:creationId xmlns:a16="http://schemas.microsoft.com/office/drawing/2014/main" id="{42D18E06-3018-4192-8321-21CC6F8B6A3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22108" y="1086765"/>
            <a:ext cx="4161935" cy="159017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4098149-D62A-4F52-BCAA-A819047BB4AE}"/>
              </a:ext>
            </a:extLst>
          </p:cNvPr>
          <p:cNvSpPr/>
          <p:nvPr/>
        </p:nvSpPr>
        <p:spPr>
          <a:xfrm>
            <a:off x="8707902" y="1856936"/>
            <a:ext cx="432000" cy="2160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651382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388BB703-04A1-4396-8B52-6B432D7BE0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46"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388BB703-04A1-4396-8B52-6B432D7BE0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dirty="0" smtClean="0">
                <a:solidFill>
                  <a:srgbClr val="FA6414"/>
                </a:solidFill>
              </a:rPr>
              <a:pPr/>
              <a:t>19</a:t>
            </a:fld>
            <a:endParaRPr lang="fr-FR">
              <a:solidFill>
                <a:srgbClr val="FA6414"/>
              </a:solidFill>
            </a:endParaRP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AB8E45B8-AEA7-41E2-994F-90186036CC33}"/>
              </a:ext>
            </a:extLst>
          </p:cNvPr>
          <p:cNvSpPr txBox="1">
            <a:spLocks noChangeArrowheads="1"/>
          </p:cNvSpPr>
          <p:nvPr/>
        </p:nvSpPr>
        <p:spPr>
          <a:xfrm>
            <a:off x="180000" y="4678026"/>
            <a:ext cx="8773278" cy="150867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0000" lvl="2" indent="-270000" defTabSz="914400">
              <a:spcBef>
                <a:spcPts val="400"/>
              </a:spcBef>
              <a:buSzPct val="100000"/>
              <a:buBlip>
                <a:blip r:embed="rId6"/>
              </a:buBlip>
            </a:pPr>
            <a:r>
              <a:rPr lang="fr-FR" sz="1400">
                <a:solidFill>
                  <a:srgbClr val="1A003B"/>
                </a:solidFill>
              </a:rPr>
              <a:t>Depuis mai 2019, une ligne directe de financement a été mise en place entre AD et </a:t>
            </a:r>
            <a:r>
              <a:rPr lang="fr-FR" sz="1400" err="1">
                <a:solidFill>
                  <a:srgbClr val="1A003B"/>
                </a:solidFill>
              </a:rPr>
              <a:t>EcoTitanium</a:t>
            </a:r>
            <a:r>
              <a:rPr lang="fr-FR" sz="1400">
                <a:solidFill>
                  <a:srgbClr val="1A003B"/>
                </a:solidFill>
              </a:rPr>
              <a:t>.</a:t>
            </a:r>
          </a:p>
          <a:p>
            <a:pPr marL="270000" lvl="2" indent="-270000" defTabSz="914400">
              <a:spcBef>
                <a:spcPts val="400"/>
              </a:spcBef>
              <a:buSzPct val="100000"/>
              <a:buBlip>
                <a:blip r:embed="rId6"/>
              </a:buBlip>
            </a:pPr>
            <a:endParaRPr lang="fr-FR" sz="1400">
              <a:solidFill>
                <a:srgbClr val="1A003B"/>
              </a:solidFill>
            </a:endParaRPr>
          </a:p>
          <a:p>
            <a:pPr marL="270000" lvl="2" indent="-270000" defTabSz="914400">
              <a:spcBef>
                <a:spcPts val="400"/>
              </a:spcBef>
              <a:buSzPct val="100000"/>
              <a:buBlip>
                <a:blip r:embed="rId6"/>
              </a:buBlip>
            </a:pPr>
            <a:r>
              <a:rPr lang="fr-FR" sz="1400">
                <a:solidFill>
                  <a:srgbClr val="1A003B"/>
                </a:solidFill>
              </a:rPr>
              <a:t>Cette ligne de prêt vers </a:t>
            </a:r>
            <a:r>
              <a:rPr lang="fr-FR" sz="1400" err="1">
                <a:solidFill>
                  <a:srgbClr val="1A003B"/>
                </a:solidFill>
              </a:rPr>
              <a:t>EcoTitanium</a:t>
            </a:r>
            <a:r>
              <a:rPr lang="fr-FR" sz="1400">
                <a:solidFill>
                  <a:srgbClr val="1A003B"/>
                </a:solidFill>
              </a:rPr>
              <a:t> est plafonnée à 17,4 M</a:t>
            </a:r>
            <a:r>
              <a:rPr lang="fr-FR" sz="1400">
                <a:solidFill>
                  <a:schemeClr val="tx2"/>
                </a:solidFill>
              </a:rPr>
              <a:t>€ depuis le dernier avenant de décembre 2021. </a:t>
            </a:r>
            <a:r>
              <a:rPr lang="fr-FR" sz="1400" b="1">
                <a:solidFill>
                  <a:schemeClr val="tx2"/>
                </a:solidFill>
              </a:rPr>
              <a:t>Au 31/12/21, le prêt est utilisé à hauteur de 15,3 M€ (reste 2,1 M€).</a:t>
            </a:r>
          </a:p>
          <a:p>
            <a:pPr marL="270000" lvl="2" indent="-270000" defTabSz="914400">
              <a:spcBef>
                <a:spcPts val="400"/>
              </a:spcBef>
              <a:buSzPct val="100000"/>
              <a:buBlip>
                <a:blip r:embed="rId6"/>
              </a:buBlip>
            </a:pPr>
            <a:endParaRPr lang="fr-FR" sz="1400" b="1">
              <a:solidFill>
                <a:schemeClr val="tx2"/>
              </a:solidFill>
            </a:endParaRPr>
          </a:p>
        </p:txBody>
      </p:sp>
      <p:graphicFrame>
        <p:nvGraphicFramePr>
          <p:cNvPr id="13" name="Espace réservé du contenu 13">
            <a:extLst>
              <a:ext uri="{FF2B5EF4-FFF2-40B4-BE49-F238E27FC236}">
                <a16:creationId xmlns:a16="http://schemas.microsoft.com/office/drawing/2014/main" id="{512ED177-8E49-4F70-B00C-67545143E43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58378114"/>
              </p:ext>
            </p:extLst>
          </p:nvPr>
        </p:nvGraphicFramePr>
        <p:xfrm>
          <a:off x="423202" y="1289602"/>
          <a:ext cx="5920447" cy="3069594"/>
        </p:xfrm>
        <a:graphic>
          <a:graphicData uri="http://schemas.openxmlformats.org/drawingml/2006/table">
            <a:tbl>
              <a:tblPr/>
              <a:tblGrid>
                <a:gridCol w="48112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092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1066">
                <a:tc>
                  <a:txBody>
                    <a:bodyPr/>
                    <a:lstStyle/>
                    <a:p>
                      <a:pPr algn="l" fontAlgn="b"/>
                      <a:r>
                        <a:rPr lang="fr-FR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istorique du plafond du prêt AD -&gt; EcoTitanium</a:t>
                      </a:r>
                    </a:p>
                  </a:txBody>
                  <a:tcPr marL="3375" marR="3375" marT="33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€</a:t>
                      </a:r>
                    </a:p>
                  </a:txBody>
                  <a:tcPr marL="3375" marR="3375" marT="33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1066">
                <a:tc>
                  <a:txBody>
                    <a:bodyPr/>
                    <a:lstStyle/>
                    <a:p>
                      <a:pPr algn="l" fontAlgn="b"/>
                      <a:r>
                        <a:rPr lang="fr-FR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êt initial en mai 2019</a:t>
                      </a:r>
                    </a:p>
                  </a:txBody>
                  <a:tcPr marL="3375" marR="3375" marT="33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,0</a:t>
                      </a:r>
                    </a:p>
                  </a:txBody>
                  <a:tcPr marL="3375" marR="3375" marT="33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1066">
                <a:tc>
                  <a:txBody>
                    <a:bodyPr/>
                    <a:lstStyle/>
                    <a:p>
                      <a:pPr algn="l" fontAlgn="b"/>
                      <a:r>
                        <a:rPr lang="fr-FR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venant n°1 en janvier 2020</a:t>
                      </a:r>
                    </a:p>
                  </a:txBody>
                  <a:tcPr marL="3375" marR="3375" marT="33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+3,5</a:t>
                      </a:r>
                    </a:p>
                  </a:txBody>
                  <a:tcPr marL="3375" marR="3375" marT="33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1066">
                <a:tc>
                  <a:txBody>
                    <a:bodyPr/>
                    <a:lstStyle/>
                    <a:p>
                      <a:pPr algn="l" fontAlgn="b"/>
                      <a:r>
                        <a:rPr lang="fr-FR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venant n°2 en</a:t>
                      </a:r>
                      <a:r>
                        <a:rPr lang="fr-FR" sz="13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fr-FR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vril 2020</a:t>
                      </a:r>
                    </a:p>
                  </a:txBody>
                  <a:tcPr marL="3375" marR="3375" marT="33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+2,0</a:t>
                      </a:r>
                    </a:p>
                  </a:txBody>
                  <a:tcPr marL="3375" marR="3375" marT="33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1066">
                <a:tc>
                  <a:txBody>
                    <a:bodyPr/>
                    <a:lstStyle/>
                    <a:p>
                      <a:pPr algn="l" fontAlgn="b"/>
                      <a:r>
                        <a:rPr lang="fr-FR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venant n°3 en</a:t>
                      </a:r>
                      <a:r>
                        <a:rPr lang="fr-FR" sz="13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fr-FR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oût 2020</a:t>
                      </a:r>
                    </a:p>
                  </a:txBody>
                  <a:tcPr marL="3375" marR="3375" marT="33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+1,2</a:t>
                      </a:r>
                    </a:p>
                  </a:txBody>
                  <a:tcPr marL="3375" marR="3375" marT="33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106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venant n°4 en</a:t>
                      </a:r>
                      <a:r>
                        <a:rPr lang="fr-FR" sz="13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novembre</a:t>
                      </a:r>
                      <a:r>
                        <a:rPr lang="fr-FR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2020</a:t>
                      </a:r>
                    </a:p>
                  </a:txBody>
                  <a:tcPr marL="3375" marR="3375" marT="33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+1,2</a:t>
                      </a:r>
                    </a:p>
                  </a:txBody>
                  <a:tcPr marL="3375" marR="3375" marT="33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1398991"/>
                  </a:ext>
                </a:extLst>
              </a:tr>
              <a:tr h="34106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venant n°4 en</a:t>
                      </a:r>
                      <a:r>
                        <a:rPr lang="fr-FR" sz="13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mai</a:t>
                      </a:r>
                      <a:r>
                        <a:rPr lang="fr-FR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2021</a:t>
                      </a:r>
                    </a:p>
                  </a:txBody>
                  <a:tcPr marL="3375" marR="3375" marT="33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+1,5</a:t>
                      </a:r>
                    </a:p>
                  </a:txBody>
                  <a:tcPr marL="3375" marR="3375" marT="33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5526758"/>
                  </a:ext>
                </a:extLst>
              </a:tr>
              <a:tr h="34106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enant n°5 en</a:t>
                      </a:r>
                      <a:r>
                        <a:rPr lang="fr-FR" sz="13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écembre</a:t>
                      </a:r>
                      <a:r>
                        <a:rPr lang="fr-FR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021</a:t>
                      </a:r>
                    </a:p>
                  </a:txBody>
                  <a:tcPr marL="3375" marR="3375" marT="33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+2,0</a:t>
                      </a:r>
                    </a:p>
                  </a:txBody>
                  <a:tcPr marL="3375" marR="3375" marT="33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4345457"/>
                  </a:ext>
                </a:extLst>
              </a:tr>
              <a:tr h="341066">
                <a:tc>
                  <a:txBody>
                    <a:bodyPr/>
                    <a:lstStyle/>
                    <a:p>
                      <a:pPr algn="l" fontAlgn="b"/>
                      <a:r>
                        <a:rPr lang="fr-FR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TAL</a:t>
                      </a:r>
                    </a:p>
                  </a:txBody>
                  <a:tcPr marL="3375" marR="3375" marT="33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,4</a:t>
                      </a:r>
                    </a:p>
                  </a:txBody>
                  <a:tcPr marL="3375" marR="3375" marT="33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4" name="Titre 1">
            <a:extLst>
              <a:ext uri="{FF2B5EF4-FFF2-40B4-BE49-F238E27FC236}">
                <a16:creationId xmlns:a16="http://schemas.microsoft.com/office/drawing/2014/main" id="{F430854F-226B-43F2-9DC7-FD2BDEDD1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000" y="-66674"/>
            <a:ext cx="8563950" cy="609600"/>
          </a:xfrm>
        </p:spPr>
        <p:txBody>
          <a:bodyPr vert="horz"/>
          <a:lstStyle/>
          <a:p>
            <a:r>
              <a:rPr lang="fr-FR"/>
              <a:t>Rappel de l’évolution historique de la ligne de financement A&amp;D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FA7064B0-6DBD-47E0-BAC8-D9D5F911C30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2" name="Espace réservé du pied de page 5">
            <a:extLst>
              <a:ext uri="{FF2B5EF4-FFF2-40B4-BE49-F238E27FC236}">
                <a16:creationId xmlns:a16="http://schemas.microsoft.com/office/drawing/2014/main" id="{E7F9D0AA-5178-4E27-A01A-C92B678273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</p:spTree>
    <p:extLst>
      <p:ext uri="{BB962C8B-B14F-4D97-AF65-F5344CB8AC3E}">
        <p14:creationId xmlns:p14="http://schemas.microsoft.com/office/powerpoint/2010/main" val="42371344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2</a:t>
            </a:fld>
            <a:endParaRPr lang="fr-FR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Sommai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441266" y="1408506"/>
            <a:ext cx="476282" cy="648000"/>
          </a:xfrm>
        </p:spPr>
        <p:txBody>
          <a:bodyPr/>
          <a:lstStyle/>
          <a:p>
            <a:r>
              <a:rPr lang="fr-FR"/>
              <a:t>01 -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7"/>
          </p:nvPr>
        </p:nvSpPr>
        <p:spPr>
          <a:xfrm>
            <a:off x="936000" y="1408506"/>
            <a:ext cx="3600000" cy="648000"/>
          </a:xfrm>
        </p:spPr>
        <p:txBody>
          <a:bodyPr/>
          <a:lstStyle/>
          <a:p>
            <a:r>
              <a:rPr lang="fr-FR"/>
              <a:t>Point industriel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9"/>
          </p:nvPr>
        </p:nvSpPr>
        <p:spPr>
          <a:xfrm>
            <a:off x="441266" y="2157964"/>
            <a:ext cx="476282" cy="648000"/>
          </a:xfrm>
        </p:spPr>
        <p:txBody>
          <a:bodyPr/>
          <a:lstStyle/>
          <a:p>
            <a:r>
              <a:rPr lang="fr-FR"/>
              <a:t>02 -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20"/>
          </p:nvPr>
        </p:nvSpPr>
        <p:spPr>
          <a:xfrm>
            <a:off x="936000" y="2157964"/>
            <a:ext cx="3600000" cy="648000"/>
          </a:xfrm>
        </p:spPr>
        <p:txBody>
          <a:bodyPr/>
          <a:lstStyle/>
          <a:p>
            <a:r>
              <a:rPr lang="fr-FR"/>
              <a:t>Qualifications</a:t>
            </a:r>
          </a:p>
          <a:p>
            <a:endParaRPr lang="fr-FR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21"/>
          </p:nvPr>
        </p:nvSpPr>
        <p:spPr>
          <a:xfrm>
            <a:off x="441266" y="2907422"/>
            <a:ext cx="476282" cy="648000"/>
          </a:xfrm>
        </p:spPr>
        <p:txBody>
          <a:bodyPr/>
          <a:lstStyle/>
          <a:p>
            <a:r>
              <a:rPr lang="fr-FR"/>
              <a:t>03 -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22"/>
          </p:nvPr>
        </p:nvSpPr>
        <p:spPr>
          <a:xfrm>
            <a:off x="936000" y="2907422"/>
            <a:ext cx="3600000" cy="648000"/>
          </a:xfrm>
        </p:spPr>
        <p:txBody>
          <a:bodyPr/>
          <a:lstStyle/>
          <a:p>
            <a:r>
              <a:rPr lang="fr-FR"/>
              <a:t>Point Commercial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CD64918F-8005-405B-9D56-658FE3DFBFC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CFEC2C58-C5A3-4649-A30A-A93CBF579273}"/>
              </a:ext>
            </a:extLst>
          </p:cNvPr>
          <p:cNvSpPr txBox="1">
            <a:spLocks/>
          </p:cNvSpPr>
          <p:nvPr/>
        </p:nvSpPr>
        <p:spPr bwMode="gray">
          <a:xfrm>
            <a:off x="444804" y="3687139"/>
            <a:ext cx="476282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r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04 -</a:t>
            </a:r>
          </a:p>
        </p:txBody>
      </p:sp>
      <p:sp>
        <p:nvSpPr>
          <p:cNvPr id="18" name="Espace réservé du texte 14">
            <a:extLst>
              <a:ext uri="{FF2B5EF4-FFF2-40B4-BE49-F238E27FC236}">
                <a16:creationId xmlns:a16="http://schemas.microsoft.com/office/drawing/2014/main" id="{8996FF4D-2AE7-4EFA-BEE0-170F8767CB33}"/>
              </a:ext>
            </a:extLst>
          </p:cNvPr>
          <p:cNvSpPr txBox="1">
            <a:spLocks/>
          </p:cNvSpPr>
          <p:nvPr/>
        </p:nvSpPr>
        <p:spPr bwMode="gray">
          <a:xfrm>
            <a:off x="939538" y="3687139"/>
            <a:ext cx="3600000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Situation financière (bilan 2021 et budget 2022)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349AFA0B-1528-44A1-A31B-C217B9DD8BFC}"/>
              </a:ext>
            </a:extLst>
          </p:cNvPr>
          <p:cNvSpPr txBox="1">
            <a:spLocks/>
          </p:cNvSpPr>
          <p:nvPr/>
        </p:nvSpPr>
        <p:spPr bwMode="gray">
          <a:xfrm>
            <a:off x="448343" y="4541287"/>
            <a:ext cx="476282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r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/>
          </a:p>
        </p:txBody>
      </p:sp>
      <p:sp>
        <p:nvSpPr>
          <p:cNvPr id="20" name="Espace réservé du texte 14">
            <a:extLst>
              <a:ext uri="{FF2B5EF4-FFF2-40B4-BE49-F238E27FC236}">
                <a16:creationId xmlns:a16="http://schemas.microsoft.com/office/drawing/2014/main" id="{866170BA-15F8-4707-9822-8B2343DD61D1}"/>
              </a:ext>
            </a:extLst>
          </p:cNvPr>
          <p:cNvSpPr txBox="1">
            <a:spLocks/>
          </p:cNvSpPr>
          <p:nvPr/>
        </p:nvSpPr>
        <p:spPr bwMode="gray">
          <a:xfrm>
            <a:off x="943077" y="4541287"/>
            <a:ext cx="3600000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445A9C7-FFC2-4FFF-8BA9-0FB8909CC4A6}"/>
              </a:ext>
            </a:extLst>
          </p:cNvPr>
          <p:cNvSpPr txBox="1">
            <a:spLocks/>
          </p:cNvSpPr>
          <p:nvPr/>
        </p:nvSpPr>
        <p:spPr bwMode="gray">
          <a:xfrm>
            <a:off x="441266" y="4436597"/>
            <a:ext cx="476282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r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/>
          </a:p>
        </p:txBody>
      </p:sp>
      <p:sp>
        <p:nvSpPr>
          <p:cNvPr id="23" name="Espace réservé du texte 14">
            <a:extLst>
              <a:ext uri="{FF2B5EF4-FFF2-40B4-BE49-F238E27FC236}">
                <a16:creationId xmlns:a16="http://schemas.microsoft.com/office/drawing/2014/main" id="{43F2E06D-D44E-40EC-9A0D-23A9F9F9A8DB}"/>
              </a:ext>
            </a:extLst>
          </p:cNvPr>
          <p:cNvSpPr txBox="1">
            <a:spLocks/>
          </p:cNvSpPr>
          <p:nvPr/>
        </p:nvSpPr>
        <p:spPr bwMode="gray">
          <a:xfrm>
            <a:off x="936000" y="4436597"/>
            <a:ext cx="3600000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/>
          </a:p>
        </p:txBody>
      </p:sp>
      <p:sp>
        <p:nvSpPr>
          <p:cNvPr id="24" name="Espace réservé du texte 15">
            <a:extLst>
              <a:ext uri="{FF2B5EF4-FFF2-40B4-BE49-F238E27FC236}">
                <a16:creationId xmlns:a16="http://schemas.microsoft.com/office/drawing/2014/main" id="{F89CE6EA-26E2-4218-9572-B0665687C588}"/>
              </a:ext>
            </a:extLst>
          </p:cNvPr>
          <p:cNvSpPr txBox="1">
            <a:spLocks/>
          </p:cNvSpPr>
          <p:nvPr/>
        </p:nvSpPr>
        <p:spPr bwMode="gray">
          <a:xfrm>
            <a:off x="4608002" y="2050297"/>
            <a:ext cx="476282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r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/>
          </a:p>
        </p:txBody>
      </p:sp>
      <p:sp>
        <p:nvSpPr>
          <p:cNvPr id="25" name="Espace réservé du texte 14">
            <a:extLst>
              <a:ext uri="{FF2B5EF4-FFF2-40B4-BE49-F238E27FC236}">
                <a16:creationId xmlns:a16="http://schemas.microsoft.com/office/drawing/2014/main" id="{56892AEF-2660-4FA7-ABE0-F776A751AE61}"/>
              </a:ext>
            </a:extLst>
          </p:cNvPr>
          <p:cNvSpPr txBox="1">
            <a:spLocks/>
          </p:cNvSpPr>
          <p:nvPr/>
        </p:nvSpPr>
        <p:spPr bwMode="gray">
          <a:xfrm>
            <a:off x="5102736" y="2050297"/>
            <a:ext cx="3600000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/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8928350E-60FB-4B3D-B97D-A51E2C52643A}"/>
              </a:ext>
            </a:extLst>
          </p:cNvPr>
          <p:cNvSpPr txBox="1">
            <a:spLocks/>
          </p:cNvSpPr>
          <p:nvPr/>
        </p:nvSpPr>
        <p:spPr bwMode="gray">
          <a:xfrm>
            <a:off x="4608002" y="2800221"/>
            <a:ext cx="476282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r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63908F50-2111-4F68-96F6-122BB8158B3D}"/>
              </a:ext>
            </a:extLst>
          </p:cNvPr>
          <p:cNvSpPr txBox="1">
            <a:spLocks/>
          </p:cNvSpPr>
          <p:nvPr/>
        </p:nvSpPr>
        <p:spPr bwMode="gray">
          <a:xfrm>
            <a:off x="5102736" y="2800221"/>
            <a:ext cx="3600000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/>
          </a:p>
        </p:txBody>
      </p:sp>
      <p:sp>
        <p:nvSpPr>
          <p:cNvPr id="28" name="Espace réservé de la date 4">
            <a:extLst>
              <a:ext uri="{FF2B5EF4-FFF2-40B4-BE49-F238E27FC236}">
                <a16:creationId xmlns:a16="http://schemas.microsoft.com/office/drawing/2014/main" id="{72292CBF-AD4A-42C8-AF9F-1CD480FB6A86}"/>
              </a:ext>
            </a:extLst>
          </p:cNvPr>
          <p:cNvSpPr txBox="1">
            <a:spLocks/>
          </p:cNvSpPr>
          <p:nvPr/>
        </p:nvSpPr>
        <p:spPr bwMode="gray">
          <a:xfrm>
            <a:off x="0" y="6678000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L="0" algn="ctr" defTabSz="457200" rtl="0" eaLnBrk="1" latinLnBrk="0" hangingPunct="1">
              <a:defRPr sz="100" kern="120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>
                <a:solidFill>
                  <a:prstClr val="black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29" name="Espace réservé du numéro de diapositive 6">
            <a:extLst>
              <a:ext uri="{FF2B5EF4-FFF2-40B4-BE49-F238E27FC236}">
                <a16:creationId xmlns:a16="http://schemas.microsoft.com/office/drawing/2014/main" id="{B98D3BBD-B7A7-4974-A1B0-AA00D85E34A8}"/>
              </a:ext>
            </a:extLst>
          </p:cNvPr>
          <p:cNvSpPr txBox="1">
            <a:spLocks/>
          </p:cNvSpPr>
          <p:nvPr/>
        </p:nvSpPr>
        <p:spPr bwMode="gray">
          <a:xfrm>
            <a:off x="539550" y="6192682"/>
            <a:ext cx="288033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lnSpc>
                <a:spcPct val="90000"/>
              </a:lnSpc>
              <a:defRPr sz="100" b="1" kern="120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3122C9-A0B9-462F-8757-0847AD287B63}" type="slidenum">
              <a:rPr lang="fr-FR" sz="900" smtClean="0">
                <a:solidFill>
                  <a:srgbClr val="FA6414"/>
                </a:solidFill>
              </a:rPr>
              <a:pPr/>
              <a:t>2</a:t>
            </a:fld>
            <a:endParaRPr lang="fr-FR" sz="900">
              <a:solidFill>
                <a:srgbClr val="FA6414"/>
              </a:solidFill>
            </a:endParaRPr>
          </a:p>
        </p:txBody>
      </p:sp>
      <p:sp>
        <p:nvSpPr>
          <p:cNvPr id="30" name="Espace réservé du pied de page 5">
            <a:extLst>
              <a:ext uri="{FF2B5EF4-FFF2-40B4-BE49-F238E27FC236}">
                <a16:creationId xmlns:a16="http://schemas.microsoft.com/office/drawing/2014/main" id="{3FDC5EA5-451D-46CC-B188-BC0450FF87AC}"/>
              </a:ext>
            </a:extLst>
          </p:cNvPr>
          <p:cNvSpPr txBox="1">
            <a:spLocks/>
          </p:cNvSpPr>
          <p:nvPr/>
        </p:nvSpPr>
        <p:spPr bwMode="gray">
          <a:xfrm>
            <a:off x="862088" y="6192682"/>
            <a:ext cx="342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ctr" defTabSz="457200" rtl="0" eaLnBrk="1" latinLnBrk="0" hangingPunct="1">
              <a:lnSpc>
                <a:spcPct val="90000"/>
              </a:lnSpc>
              <a:defRPr sz="100" kern="120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900">
                <a:solidFill>
                  <a:srgbClr val="1A003B"/>
                </a:solidFill>
              </a:rPr>
              <a:t>Comité de Surveillance – 1/03/2022</a:t>
            </a:r>
          </a:p>
        </p:txBody>
      </p:sp>
      <p:sp>
        <p:nvSpPr>
          <p:cNvPr id="31" name="Espace réservé du texte 15">
            <a:extLst>
              <a:ext uri="{FF2B5EF4-FFF2-40B4-BE49-F238E27FC236}">
                <a16:creationId xmlns:a16="http://schemas.microsoft.com/office/drawing/2014/main" id="{B5469173-0E91-4F57-BBB8-ECF11B146289}"/>
              </a:ext>
            </a:extLst>
          </p:cNvPr>
          <p:cNvSpPr txBox="1">
            <a:spLocks/>
          </p:cNvSpPr>
          <p:nvPr/>
        </p:nvSpPr>
        <p:spPr bwMode="gray">
          <a:xfrm>
            <a:off x="4618885" y="1308882"/>
            <a:ext cx="476282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r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07 - </a:t>
            </a:r>
          </a:p>
        </p:txBody>
      </p:sp>
      <p:sp>
        <p:nvSpPr>
          <p:cNvPr id="32" name="Espace réservé du texte 14">
            <a:extLst>
              <a:ext uri="{FF2B5EF4-FFF2-40B4-BE49-F238E27FC236}">
                <a16:creationId xmlns:a16="http://schemas.microsoft.com/office/drawing/2014/main" id="{8968A8F7-55C3-4419-A340-8B6C280F5F67}"/>
              </a:ext>
            </a:extLst>
          </p:cNvPr>
          <p:cNvSpPr txBox="1">
            <a:spLocks/>
          </p:cNvSpPr>
          <p:nvPr/>
        </p:nvSpPr>
        <p:spPr bwMode="gray">
          <a:xfrm>
            <a:off x="5113618" y="1308882"/>
            <a:ext cx="3600000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Annexes investissements</a:t>
            </a:r>
          </a:p>
        </p:txBody>
      </p:sp>
      <p:sp>
        <p:nvSpPr>
          <p:cNvPr id="33" name="Espace réservé du texte 15">
            <a:extLst>
              <a:ext uri="{FF2B5EF4-FFF2-40B4-BE49-F238E27FC236}">
                <a16:creationId xmlns:a16="http://schemas.microsoft.com/office/drawing/2014/main" id="{6B2005A1-796D-494B-A9FC-1FFBCC4B7C5C}"/>
              </a:ext>
            </a:extLst>
          </p:cNvPr>
          <p:cNvSpPr txBox="1">
            <a:spLocks/>
          </p:cNvSpPr>
          <p:nvPr/>
        </p:nvSpPr>
        <p:spPr bwMode="gray">
          <a:xfrm>
            <a:off x="4618888" y="3627540"/>
            <a:ext cx="476282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r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/>
          </a:p>
        </p:txBody>
      </p:sp>
      <p:sp>
        <p:nvSpPr>
          <p:cNvPr id="34" name="Espace réservé du texte 14">
            <a:extLst>
              <a:ext uri="{FF2B5EF4-FFF2-40B4-BE49-F238E27FC236}">
                <a16:creationId xmlns:a16="http://schemas.microsoft.com/office/drawing/2014/main" id="{F1658EDD-5F07-4F39-BF58-21D0F9DA2D56}"/>
              </a:ext>
            </a:extLst>
          </p:cNvPr>
          <p:cNvSpPr txBox="1">
            <a:spLocks/>
          </p:cNvSpPr>
          <p:nvPr/>
        </p:nvSpPr>
        <p:spPr bwMode="gray">
          <a:xfrm>
            <a:off x="5113622" y="3627540"/>
            <a:ext cx="3600000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/>
          </a:p>
        </p:txBody>
      </p:sp>
      <p:sp>
        <p:nvSpPr>
          <p:cNvPr id="35" name="Espace réservé du texte 15">
            <a:extLst>
              <a:ext uri="{FF2B5EF4-FFF2-40B4-BE49-F238E27FC236}">
                <a16:creationId xmlns:a16="http://schemas.microsoft.com/office/drawing/2014/main" id="{6FB0C37E-DAE5-436A-91F5-A62A131D0F46}"/>
              </a:ext>
            </a:extLst>
          </p:cNvPr>
          <p:cNvSpPr txBox="1">
            <a:spLocks/>
          </p:cNvSpPr>
          <p:nvPr/>
        </p:nvSpPr>
        <p:spPr bwMode="gray">
          <a:xfrm>
            <a:off x="4618884" y="4411312"/>
            <a:ext cx="476282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r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/>
          </a:p>
        </p:txBody>
      </p:sp>
      <p:sp>
        <p:nvSpPr>
          <p:cNvPr id="36" name="Espace réservé du texte 14">
            <a:extLst>
              <a:ext uri="{FF2B5EF4-FFF2-40B4-BE49-F238E27FC236}">
                <a16:creationId xmlns:a16="http://schemas.microsoft.com/office/drawing/2014/main" id="{6710D06D-80B2-428D-AB86-299458E8FECD}"/>
              </a:ext>
            </a:extLst>
          </p:cNvPr>
          <p:cNvSpPr txBox="1">
            <a:spLocks/>
          </p:cNvSpPr>
          <p:nvPr/>
        </p:nvSpPr>
        <p:spPr bwMode="gray">
          <a:xfrm>
            <a:off x="5113618" y="4411312"/>
            <a:ext cx="3600000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/>
          </a:p>
        </p:txBody>
      </p:sp>
      <p:sp>
        <p:nvSpPr>
          <p:cNvPr id="37" name="Espace réservé du texte 15">
            <a:extLst>
              <a:ext uri="{FF2B5EF4-FFF2-40B4-BE49-F238E27FC236}">
                <a16:creationId xmlns:a16="http://schemas.microsoft.com/office/drawing/2014/main" id="{9E369A8D-67CE-4CDC-9222-091D49582AA1}"/>
              </a:ext>
            </a:extLst>
          </p:cNvPr>
          <p:cNvSpPr txBox="1">
            <a:spLocks/>
          </p:cNvSpPr>
          <p:nvPr/>
        </p:nvSpPr>
        <p:spPr bwMode="gray">
          <a:xfrm>
            <a:off x="448342" y="4520012"/>
            <a:ext cx="476282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r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</a:p>
        </p:txBody>
      </p:sp>
      <p:sp>
        <p:nvSpPr>
          <p:cNvPr id="38" name="Espace réservé du texte 14">
            <a:extLst>
              <a:ext uri="{FF2B5EF4-FFF2-40B4-BE49-F238E27FC236}">
                <a16:creationId xmlns:a16="http://schemas.microsoft.com/office/drawing/2014/main" id="{DA63AD0B-E443-4FD1-9649-912364BF105D}"/>
              </a:ext>
            </a:extLst>
          </p:cNvPr>
          <p:cNvSpPr txBox="1">
            <a:spLocks/>
          </p:cNvSpPr>
          <p:nvPr/>
        </p:nvSpPr>
        <p:spPr bwMode="gray">
          <a:xfrm>
            <a:off x="943076" y="4520012"/>
            <a:ext cx="3600000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</a:p>
        </p:txBody>
      </p:sp>
      <p:sp>
        <p:nvSpPr>
          <p:cNvPr id="39" name="Espace réservé du texte 15">
            <a:extLst>
              <a:ext uri="{FF2B5EF4-FFF2-40B4-BE49-F238E27FC236}">
                <a16:creationId xmlns:a16="http://schemas.microsoft.com/office/drawing/2014/main" id="{51CDF3BB-9FF9-432C-AEFC-E9CD20C0C0A0}"/>
              </a:ext>
            </a:extLst>
          </p:cNvPr>
          <p:cNvSpPr txBox="1">
            <a:spLocks/>
          </p:cNvSpPr>
          <p:nvPr/>
        </p:nvSpPr>
        <p:spPr bwMode="gray">
          <a:xfrm>
            <a:off x="453368" y="4486809"/>
            <a:ext cx="476282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r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05 -</a:t>
            </a:r>
          </a:p>
        </p:txBody>
      </p:sp>
      <p:sp>
        <p:nvSpPr>
          <p:cNvPr id="40" name="Espace réservé du texte 14">
            <a:extLst>
              <a:ext uri="{FF2B5EF4-FFF2-40B4-BE49-F238E27FC236}">
                <a16:creationId xmlns:a16="http://schemas.microsoft.com/office/drawing/2014/main" id="{F5EDD4D7-8680-4BDC-B2BD-0B528C07DA76}"/>
              </a:ext>
            </a:extLst>
          </p:cNvPr>
          <p:cNvSpPr txBox="1">
            <a:spLocks/>
          </p:cNvSpPr>
          <p:nvPr/>
        </p:nvSpPr>
        <p:spPr bwMode="gray">
          <a:xfrm>
            <a:off x="948102" y="4441653"/>
            <a:ext cx="3600000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ocus AEROTRADE</a:t>
            </a:r>
            <a:endParaRPr lang="fr-FR"/>
          </a:p>
        </p:txBody>
      </p:sp>
      <p:sp>
        <p:nvSpPr>
          <p:cNvPr id="41" name="Espace réservé du texte 15">
            <a:extLst>
              <a:ext uri="{FF2B5EF4-FFF2-40B4-BE49-F238E27FC236}">
                <a16:creationId xmlns:a16="http://schemas.microsoft.com/office/drawing/2014/main" id="{54A5FB3E-9CBD-4949-A8B4-A33EA0BAE4F8}"/>
              </a:ext>
            </a:extLst>
          </p:cNvPr>
          <p:cNvSpPr txBox="1">
            <a:spLocks/>
          </p:cNvSpPr>
          <p:nvPr/>
        </p:nvSpPr>
        <p:spPr bwMode="gray">
          <a:xfrm>
            <a:off x="451658" y="5224835"/>
            <a:ext cx="476282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r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06 -</a:t>
            </a:r>
          </a:p>
        </p:txBody>
      </p:sp>
      <p:sp>
        <p:nvSpPr>
          <p:cNvPr id="42" name="Espace réservé du texte 14">
            <a:extLst>
              <a:ext uri="{FF2B5EF4-FFF2-40B4-BE49-F238E27FC236}">
                <a16:creationId xmlns:a16="http://schemas.microsoft.com/office/drawing/2014/main" id="{A166D79D-97A8-4CF2-B9C9-6CD3EB19F938}"/>
              </a:ext>
            </a:extLst>
          </p:cNvPr>
          <p:cNvSpPr txBox="1">
            <a:spLocks/>
          </p:cNvSpPr>
          <p:nvPr/>
        </p:nvSpPr>
        <p:spPr bwMode="gray">
          <a:xfrm>
            <a:off x="946392" y="5224835"/>
            <a:ext cx="3600000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Questions diverses</a:t>
            </a:r>
          </a:p>
        </p:txBody>
      </p:sp>
    </p:spTree>
    <p:extLst>
      <p:ext uri="{BB962C8B-B14F-4D97-AF65-F5344CB8AC3E}">
        <p14:creationId xmlns:p14="http://schemas.microsoft.com/office/powerpoint/2010/main" val="7881171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0000" y="92765"/>
            <a:ext cx="8064000" cy="503584"/>
          </a:xfrm>
        </p:spPr>
        <p:txBody>
          <a:bodyPr/>
          <a:lstStyle/>
          <a:p>
            <a:r>
              <a:rPr lang="fr-FR"/>
              <a:t>Actions de financement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dirty="0" smtClean="0">
                <a:solidFill>
                  <a:srgbClr val="FA6414"/>
                </a:solidFill>
              </a:rPr>
              <a:pPr/>
              <a:t>20</a:t>
            </a:fld>
            <a:endParaRPr lang="fr-FR">
              <a:solidFill>
                <a:srgbClr val="FA6414"/>
              </a:solidFill>
            </a:endParaRP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8D1F8C14-A3F2-4212-8F6A-D7DB46B112A4}"/>
              </a:ext>
            </a:extLst>
          </p:cNvPr>
          <p:cNvSpPr txBox="1">
            <a:spLocks noChangeArrowheads="1"/>
          </p:cNvSpPr>
          <p:nvPr/>
        </p:nvSpPr>
        <p:spPr>
          <a:xfrm>
            <a:off x="206330" y="1036184"/>
            <a:ext cx="8625665" cy="4722435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defTabSz="914400">
              <a:spcBef>
                <a:spcPts val="400"/>
              </a:spcBef>
              <a:spcAft>
                <a:spcPts val="600"/>
              </a:spcAft>
              <a:buSzPct val="100000"/>
              <a:buNone/>
            </a:pPr>
            <a:r>
              <a:rPr lang="fr-FR" sz="1400" b="1" i="1" u="sng">
                <a:solidFill>
                  <a:srgbClr val="1A003B"/>
                </a:solidFill>
              </a:rPr>
              <a:t>RAPPEL (pas d’évolution vs Dec21)</a:t>
            </a:r>
          </a:p>
          <a:p>
            <a:pPr marL="270000" lvl="2" indent="-270000" defTabSz="914400">
              <a:spcBef>
                <a:spcPts val="400"/>
              </a:spcBef>
              <a:spcAft>
                <a:spcPts val="600"/>
              </a:spcAft>
              <a:buSzPct val="100000"/>
              <a:buBlip>
                <a:blip r:embed="rId2"/>
              </a:buBlip>
            </a:pPr>
            <a:r>
              <a:rPr lang="fr-FR" sz="1400" b="1">
                <a:solidFill>
                  <a:srgbClr val="1A003B"/>
                </a:solidFill>
              </a:rPr>
              <a:t>Prêt de 5 M€ BPI (AD-&gt;UKAD-&gt;</a:t>
            </a:r>
            <a:r>
              <a:rPr lang="fr-FR" sz="1400" b="1" err="1">
                <a:solidFill>
                  <a:srgbClr val="1A003B"/>
                </a:solidFill>
              </a:rPr>
              <a:t>EcoTi</a:t>
            </a:r>
            <a:r>
              <a:rPr lang="fr-FR" sz="1400" b="1">
                <a:solidFill>
                  <a:srgbClr val="1A003B"/>
                </a:solidFill>
              </a:rPr>
              <a:t>) : </a:t>
            </a:r>
            <a:r>
              <a:rPr lang="fr-FR" sz="1400">
                <a:solidFill>
                  <a:srgbClr val="1A003B"/>
                </a:solidFill>
              </a:rPr>
              <a:t>Accord pour un gel du principal sur 12 mois (Avr20 - Avr21)  - enjeux 0,7 M€ =&gt; refus de la BPI de prolonger le gel</a:t>
            </a:r>
          </a:p>
          <a:p>
            <a:pPr marL="270000" lvl="2" indent="-270000" defTabSz="914400">
              <a:spcBef>
                <a:spcPts val="400"/>
              </a:spcBef>
              <a:spcAft>
                <a:spcPts val="600"/>
              </a:spcAft>
              <a:buSzPct val="100000"/>
              <a:buBlip>
                <a:blip r:embed="rId2"/>
              </a:buBlip>
            </a:pPr>
            <a:endParaRPr lang="fr-FR" sz="1400" b="1">
              <a:solidFill>
                <a:srgbClr val="1A003B"/>
              </a:solidFill>
            </a:endParaRPr>
          </a:p>
          <a:p>
            <a:pPr marL="270000" lvl="2" indent="-270000" defTabSz="914400">
              <a:spcBef>
                <a:spcPts val="400"/>
              </a:spcBef>
              <a:spcAft>
                <a:spcPts val="600"/>
              </a:spcAft>
              <a:buSzPct val="100000"/>
              <a:buBlip>
                <a:blip r:embed="rId2"/>
              </a:buBlip>
            </a:pPr>
            <a:r>
              <a:rPr lang="fr-FR" sz="1400" b="1">
                <a:solidFill>
                  <a:srgbClr val="1A003B"/>
                </a:solidFill>
              </a:rPr>
              <a:t>Prêt 20 M€ CACF/BPI : </a:t>
            </a:r>
            <a:r>
              <a:rPr lang="fr-FR" sz="1400">
                <a:solidFill>
                  <a:srgbClr val="1A003B"/>
                </a:solidFill>
              </a:rPr>
              <a:t>Accord pour un gel du principal sur 24 mois (Oct19 - Sep21) – enjeux 3,7 M€ =&gt; refus du CACF / BPI de prolonger le gel</a:t>
            </a:r>
          </a:p>
          <a:p>
            <a:pPr marL="270000" lvl="2" indent="-270000" defTabSz="914400">
              <a:spcBef>
                <a:spcPts val="400"/>
              </a:spcBef>
              <a:spcAft>
                <a:spcPts val="600"/>
              </a:spcAft>
              <a:buSzPct val="100000"/>
              <a:buBlip>
                <a:blip r:embed="rId2"/>
              </a:buBlip>
            </a:pPr>
            <a:endParaRPr lang="fr-FR" sz="1400" b="1">
              <a:solidFill>
                <a:srgbClr val="1A003B"/>
              </a:solidFill>
            </a:endParaRPr>
          </a:p>
          <a:p>
            <a:pPr marL="270000" lvl="2" indent="-270000" defTabSz="914400">
              <a:spcBef>
                <a:spcPts val="400"/>
              </a:spcBef>
              <a:spcAft>
                <a:spcPts val="600"/>
              </a:spcAft>
              <a:buSzPct val="100000"/>
              <a:buBlip>
                <a:blip r:embed="rId2"/>
              </a:buBlip>
            </a:pPr>
            <a:r>
              <a:rPr lang="fr-FR" sz="1400" b="1">
                <a:solidFill>
                  <a:srgbClr val="1A003B"/>
                </a:solidFill>
              </a:rPr>
              <a:t>Subvention</a:t>
            </a:r>
            <a:r>
              <a:rPr lang="fr-FR" sz="1400">
                <a:solidFill>
                  <a:srgbClr val="1A003B"/>
                </a:solidFill>
              </a:rPr>
              <a:t> : Accord de la BPI pour une subvention de 2,7 M€ à AD pour le développement du titane PQ chez EcoTitanium avec différents jalons de décaissement dont 25% (0,7 M€) versés à A&amp;D en avril 2021</a:t>
            </a:r>
          </a:p>
          <a:p>
            <a:pPr marL="270000" lvl="2" indent="-270000" defTabSz="914400">
              <a:spcBef>
                <a:spcPts val="400"/>
              </a:spcBef>
              <a:buSzPct val="100000"/>
              <a:buBlip>
                <a:blip r:embed="rId2"/>
              </a:buBlip>
            </a:pPr>
            <a:endParaRPr lang="fr-FR" sz="1400" b="1">
              <a:solidFill>
                <a:srgbClr val="1A003B"/>
              </a:solidFill>
            </a:endParaRPr>
          </a:p>
          <a:p>
            <a:pPr marL="270000" lvl="2" indent="-270000" defTabSz="914400">
              <a:spcBef>
                <a:spcPts val="400"/>
              </a:spcBef>
              <a:buSzPct val="100000"/>
              <a:buBlip>
                <a:blip r:embed="rId2"/>
              </a:buBlip>
            </a:pPr>
            <a:r>
              <a:rPr lang="fr-FR" sz="1400" b="1">
                <a:solidFill>
                  <a:srgbClr val="1A003B"/>
                </a:solidFill>
              </a:rPr>
              <a:t>Factoring</a:t>
            </a:r>
            <a:r>
              <a:rPr lang="fr-FR" sz="1400">
                <a:solidFill>
                  <a:srgbClr val="1A003B"/>
                </a:solidFill>
              </a:rPr>
              <a:t> : la ligne en place avec le Crédit Agricole a été gelée pour économiser les frais associés (1 k€/mois) depuis mars 2021, le gel autorisé est de 12 mois maximum =&gt; la ligne a été réactivée début octobre 2021</a:t>
            </a:r>
          </a:p>
          <a:p>
            <a:pPr marL="0" lvl="2" indent="0" defTabSz="914400">
              <a:spcBef>
                <a:spcPts val="400"/>
              </a:spcBef>
              <a:buSzPct val="100000"/>
              <a:buNone/>
            </a:pPr>
            <a:endParaRPr lang="fr-FR" sz="1400">
              <a:solidFill>
                <a:srgbClr val="1A003B"/>
              </a:solidFill>
            </a:endParaRPr>
          </a:p>
          <a:p>
            <a:pPr marL="0" lvl="2" indent="0" defTabSz="914400">
              <a:spcBef>
                <a:spcPts val="400"/>
              </a:spcBef>
              <a:buSzPct val="100000"/>
              <a:buNone/>
            </a:pPr>
            <a:r>
              <a:rPr lang="fr-FR" sz="1400" b="1" i="1" u="sng">
                <a:solidFill>
                  <a:srgbClr val="1A003B"/>
                </a:solidFill>
              </a:rPr>
              <a:t>Evolutions</a:t>
            </a:r>
          </a:p>
          <a:p>
            <a:pPr marL="270000" lvl="2" indent="-270000" defTabSz="914400">
              <a:spcBef>
                <a:spcPts val="400"/>
              </a:spcBef>
              <a:buSzPct val="100000"/>
              <a:buBlip>
                <a:blip r:embed="rId2"/>
              </a:buBlip>
            </a:pPr>
            <a:r>
              <a:rPr lang="fr-FR" sz="1400" b="1" err="1">
                <a:solidFill>
                  <a:srgbClr val="1A003B"/>
                </a:solidFill>
              </a:rPr>
              <a:t>Aerotrade</a:t>
            </a:r>
            <a:r>
              <a:rPr lang="fr-FR" sz="1400">
                <a:solidFill>
                  <a:srgbClr val="1A003B"/>
                </a:solidFill>
              </a:rPr>
              <a:t> : Contrat signé et mise en place opérationnelle à venir</a:t>
            </a:r>
          </a:p>
          <a:p>
            <a:pPr marL="270000" lvl="2" indent="-270000" defTabSz="914400">
              <a:spcBef>
                <a:spcPts val="400"/>
              </a:spcBef>
              <a:buSzPct val="100000"/>
              <a:buBlip>
                <a:blip r:embed="rId2"/>
              </a:buBlip>
            </a:pPr>
            <a:endParaRPr lang="fr-FR" sz="1400">
              <a:solidFill>
                <a:srgbClr val="1A003B"/>
              </a:solidFill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FDE7D4C4-2828-415B-945D-66CE509897E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" name="Espace réservé du pied de page 5">
            <a:extLst>
              <a:ext uri="{FF2B5EF4-FFF2-40B4-BE49-F238E27FC236}">
                <a16:creationId xmlns:a16="http://schemas.microsoft.com/office/drawing/2014/main" id="{F6E2CDFE-79D7-4AB4-AFB6-1377FFDDF5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</p:spTree>
    <p:extLst>
      <p:ext uri="{BB962C8B-B14F-4D97-AF65-F5344CB8AC3E}">
        <p14:creationId xmlns:p14="http://schemas.microsoft.com/office/powerpoint/2010/main" val="29266528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24" name="Espace réservé du texte 23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fr-FR"/>
              <a:t>Situation financière</a:t>
            </a:r>
          </a:p>
          <a:p>
            <a:r>
              <a:rPr lang="fr-FR"/>
              <a:t>Sous capitalisation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4294967295"/>
          </p:nvPr>
        </p:nvSpPr>
        <p:spPr bwMode="gray">
          <a:xfrm>
            <a:off x="0" y="-11113"/>
            <a:ext cx="3576638" cy="1735138"/>
          </a:xfrm>
        </p:spPr>
        <p:txBody>
          <a:bodyPr/>
          <a:lstStyle/>
          <a:p>
            <a:r>
              <a:rPr lang="fr-FR"/>
              <a:t> 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7091229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91447223-6B10-4611-BA9D-BD865ACB0E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18" name="Diapositive think-cell" r:id="rId5" imgW="395" imgH="394" progId="TCLayout.ActiveDocument.1">
                  <p:embed/>
                </p:oleObj>
              </mc:Choice>
              <mc:Fallback>
                <p:oleObj name="Diapositive think-cell" r:id="rId5" imgW="395" imgH="394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91447223-6B10-4611-BA9D-BD865ACB0E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75C3DB1-036A-4B43-8701-921DFCC020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16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0000" y="1"/>
            <a:ext cx="8064000" cy="583096"/>
          </a:xfrm>
        </p:spPr>
        <p:txBody>
          <a:bodyPr/>
          <a:lstStyle/>
          <a:p>
            <a:pPr lvl="2" defTabSz="914400">
              <a:spcBef>
                <a:spcPts val="400"/>
              </a:spcBef>
              <a:buSzPct val="100000"/>
            </a:pPr>
            <a:r>
              <a:rPr lang="fr-FR" sz="2200" b="1">
                <a:solidFill>
                  <a:srgbClr val="1A003B"/>
                </a:solidFill>
                <a:latin typeface="Arial"/>
              </a:rPr>
              <a:t>Sous capitalisation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dirty="0" smtClean="0">
                <a:solidFill>
                  <a:srgbClr val="FA6414"/>
                </a:solidFill>
              </a:rPr>
              <a:pPr/>
              <a:t>22</a:t>
            </a:fld>
            <a:endParaRPr lang="fr-FR">
              <a:solidFill>
                <a:srgbClr val="FA6414"/>
              </a:solidFill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A69B9FC1-7151-4603-AB9C-092E64FB8D90}"/>
              </a:ext>
            </a:extLst>
          </p:cNvPr>
          <p:cNvSpPr txBox="1"/>
          <p:nvPr/>
        </p:nvSpPr>
        <p:spPr>
          <a:xfrm>
            <a:off x="367627" y="931104"/>
            <a:ext cx="7766723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400">
                <a:solidFill>
                  <a:schemeClr val="tx2"/>
                </a:solidFill>
              </a:rPr>
              <a:t>Les capitaux propres sont inférieurs à 50% du capital social depuis la clôture 2019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40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400">
                <a:solidFill>
                  <a:schemeClr val="tx2"/>
                </a:solidFill>
              </a:rPr>
              <a:t>Lors de l’AG du 17/06/20, la sous-capitalisation a été constaté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40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40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40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40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40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40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40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40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40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40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400">
                <a:solidFill>
                  <a:schemeClr val="tx2"/>
                </a:solidFill>
              </a:rPr>
              <a:t>En cas de poursuite d’activité, malgré les pertes, les actionnaires doivent régulariser la situation au plus tard à la clôture du second exercice suivant celui au cours duquel la perte de la moitié du capital social a été constaté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400">
              <a:solidFill>
                <a:schemeClr val="tx2"/>
              </a:solidFill>
            </a:endParaRPr>
          </a:p>
          <a:p>
            <a:r>
              <a:rPr lang="fr-FR" sz="1400" b="1">
                <a:solidFill>
                  <a:schemeClr val="tx2"/>
                </a:solidFill>
              </a:rPr>
              <a:t>	=&gt; La sous capitalisation devra donc être résolue au plus tard au 31/12/22</a:t>
            </a:r>
          </a:p>
          <a:p>
            <a:endParaRPr lang="fr-FR" sz="1400" b="1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400">
              <a:solidFill>
                <a:schemeClr val="tx2"/>
              </a:solidFill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4A8C38A2-818C-4992-9E88-4300BCE0381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10808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AB28ACE1-64FD-427E-AC6E-750C20850E9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3566" y="1991553"/>
            <a:ext cx="6135622" cy="976934"/>
          </a:xfrm>
          <a:prstGeom prst="rect">
            <a:avLst/>
          </a:prstGeom>
        </p:spPr>
      </p:pic>
      <p:sp>
        <p:nvSpPr>
          <p:cNvPr id="11" name="Espace réservé du pied de page 5">
            <a:extLst>
              <a:ext uri="{FF2B5EF4-FFF2-40B4-BE49-F238E27FC236}">
                <a16:creationId xmlns:a16="http://schemas.microsoft.com/office/drawing/2014/main" id="{88A5831C-F639-4452-9252-8B8BFFE8EBB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</p:spTree>
    <p:extLst>
      <p:ext uri="{BB962C8B-B14F-4D97-AF65-F5344CB8AC3E}">
        <p14:creationId xmlns:p14="http://schemas.microsoft.com/office/powerpoint/2010/main" val="10945920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24" name="Espace réservé du texte 23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fr-FR"/>
              <a:t>Budget 2022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4294967295"/>
          </p:nvPr>
        </p:nvSpPr>
        <p:spPr bwMode="gray">
          <a:xfrm>
            <a:off x="0" y="-11113"/>
            <a:ext cx="3576638" cy="1735138"/>
          </a:xfrm>
        </p:spPr>
        <p:txBody>
          <a:bodyPr/>
          <a:lstStyle/>
          <a:p>
            <a:r>
              <a:rPr lang="fr-FR"/>
              <a:t> 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6877710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66" name="Diapositive think-cell" r:id="rId5" imgW="395" imgH="396" progId="TCLayout.ActiveDocument.1">
                  <p:embed/>
                </p:oleObj>
              </mc:Choice>
              <mc:Fallback>
                <p:oleObj name="Diapositive think-cell" r:id="rId5" imgW="395" imgH="396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2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0000" y="44624"/>
            <a:ext cx="8508750" cy="553687"/>
          </a:xfrm>
        </p:spPr>
        <p:txBody>
          <a:bodyPr/>
          <a:lstStyle/>
          <a:p>
            <a:r>
              <a:rPr lang="fr-FR"/>
              <a:t>Budget 2022 : </a:t>
            </a:r>
            <a:r>
              <a:rPr lang="fr-FR" err="1"/>
              <a:t>Executive</a:t>
            </a:r>
            <a:r>
              <a:rPr lang="fr-FR"/>
              <a:t> </a:t>
            </a:r>
            <a:r>
              <a:rPr lang="fr-FR" err="1"/>
              <a:t>Summary</a:t>
            </a:r>
            <a:br>
              <a:rPr lang="fr-FR"/>
            </a:br>
            <a:r>
              <a:rPr lang="fr-FR" sz="2000"/>
              <a:t>Principales hypothèses / Faits marquants (positifs &amp; négatifs)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24</a:t>
            </a:fld>
            <a:endParaRPr lang="fr-FR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CEE7801D-3205-4B2E-B761-8CF6E67C454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graphicFrame>
        <p:nvGraphicFramePr>
          <p:cNvPr id="10" name="Tableau 9">
            <a:extLst>
              <a:ext uri="{FF2B5EF4-FFF2-40B4-BE49-F238E27FC236}">
                <a16:creationId xmlns:a16="http://schemas.microsoft.com/office/drawing/2014/main" id="{E872BEED-E25B-4C67-BB53-4C040258D7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3882445"/>
              </p:ext>
            </p:extLst>
          </p:nvPr>
        </p:nvGraphicFramePr>
        <p:xfrm>
          <a:off x="511055" y="1377406"/>
          <a:ext cx="8381316" cy="4591620"/>
        </p:xfrm>
        <a:graphic>
          <a:graphicData uri="http://schemas.openxmlformats.org/drawingml/2006/table">
            <a:tbl>
              <a:tblPr/>
              <a:tblGrid>
                <a:gridCol w="1052582">
                  <a:extLst>
                    <a:ext uri="{9D8B030D-6E8A-4147-A177-3AD203B41FA5}">
                      <a16:colId xmlns:a16="http://schemas.microsoft.com/office/drawing/2014/main" val="4293735513"/>
                    </a:ext>
                  </a:extLst>
                </a:gridCol>
                <a:gridCol w="3138076">
                  <a:extLst>
                    <a:ext uri="{9D8B030D-6E8A-4147-A177-3AD203B41FA5}">
                      <a16:colId xmlns:a16="http://schemas.microsoft.com/office/drawing/2014/main" val="773390916"/>
                    </a:ext>
                  </a:extLst>
                </a:gridCol>
                <a:gridCol w="1052582">
                  <a:extLst>
                    <a:ext uri="{9D8B030D-6E8A-4147-A177-3AD203B41FA5}">
                      <a16:colId xmlns:a16="http://schemas.microsoft.com/office/drawing/2014/main" val="3483939082"/>
                    </a:ext>
                  </a:extLst>
                </a:gridCol>
                <a:gridCol w="3138076">
                  <a:extLst>
                    <a:ext uri="{9D8B030D-6E8A-4147-A177-3AD203B41FA5}">
                      <a16:colId xmlns:a16="http://schemas.microsoft.com/office/drawing/2014/main" val="598693438"/>
                    </a:ext>
                  </a:extLst>
                </a:gridCol>
              </a:tblGrid>
              <a:tr h="191318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EXECUTIVE SUMMARY B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701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2230565"/>
                  </a:ext>
                </a:extLst>
              </a:tr>
              <a:tr h="16188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aits marquants positif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es écarts négatifs </a:t>
                      </a:r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6098388"/>
                  </a:ext>
                </a:extLst>
              </a:tr>
              <a:tr h="60338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CURIT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F1 = 0; TF2 = 0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OCK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8474757"/>
                  </a:ext>
                </a:extLst>
              </a:tr>
              <a:tr h="60338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ACTURA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8 lingots en facturation (706 t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TIVIT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'activité va dépendre fortement de notre capacité à recruter du personnel et à le faire monter en compétence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636967"/>
                  </a:ext>
                </a:extLst>
              </a:tr>
              <a:tr h="60338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QUALIT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éduction des dérogations par la maîtrise des calculs de charg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H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fficulté à recruter et former de nouveaux agents (doublement des équipes de production)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4767540"/>
                  </a:ext>
                </a:extLst>
              </a:tr>
              <a:tr h="60338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IABILISA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oursuivre le </a:t>
                      </a:r>
                      <a:r>
                        <a:rPr lang="fr-FR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amp</a:t>
                      </a:r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up du TRS PAM jusqu'à obtenir &gt;=60%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CURIT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attraper le retard pris durant l’arrêt de l’usin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9592377"/>
                  </a:ext>
                </a:extLst>
              </a:tr>
              <a:tr h="60338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F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IABILISA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-delà du four plasma, la fiabilité de la préparation des charges passera par des investissements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4255002"/>
                  </a:ext>
                </a:extLst>
              </a:tr>
              <a:tr h="61810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Qualifica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oeing : Qualification obtenue</a:t>
                      </a:r>
                      <a:b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fran / GE : si décision de lancement de cette qualification, nécessité de montée en culture Premium </a:t>
                      </a:r>
                      <a:r>
                        <a:rPr lang="fr-FR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Quality</a:t>
                      </a:r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et de maintenir un rythme soutenu tout le long de la qualification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9778485"/>
                  </a:ext>
                </a:extLst>
              </a:tr>
              <a:tr h="603386">
                <a:tc>
                  <a:txBody>
                    <a:bodyPr/>
                    <a:lstStyle/>
                    <a:p>
                      <a:pPr algn="ctr" fontAlgn="ctr"/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4304203"/>
                  </a:ext>
                </a:extLst>
              </a:tr>
            </a:tbl>
          </a:graphicData>
        </a:graphic>
      </p:graphicFrame>
      <p:sp>
        <p:nvSpPr>
          <p:cNvPr id="12" name="Espace réservé du pied de page 5">
            <a:extLst>
              <a:ext uri="{FF2B5EF4-FFF2-40B4-BE49-F238E27FC236}">
                <a16:creationId xmlns:a16="http://schemas.microsoft.com/office/drawing/2014/main" id="{FFF30F44-DBCA-462D-9D0C-FF4BBC00447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</p:spTree>
    <p:extLst>
      <p:ext uri="{BB962C8B-B14F-4D97-AF65-F5344CB8AC3E}">
        <p14:creationId xmlns:p14="http://schemas.microsoft.com/office/powerpoint/2010/main" val="37396908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90" name="Diapositive think-cell" r:id="rId5" imgW="395" imgH="396" progId="TCLayout.ActiveDocument.1">
                  <p:embed/>
                </p:oleObj>
              </mc:Choice>
              <mc:Fallback>
                <p:oleObj name="Diapositive think-cell" r:id="rId5" imgW="395" imgH="396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2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0000" y="1"/>
            <a:ext cx="8508750" cy="564444"/>
          </a:xfrm>
        </p:spPr>
        <p:txBody>
          <a:bodyPr/>
          <a:lstStyle/>
          <a:p>
            <a:r>
              <a:rPr lang="fr-FR"/>
              <a:t>Budget 2022 : Sécurité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25</a:t>
            </a:fld>
            <a:endParaRPr lang="fr-FR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3C65330-0ECD-4E36-A21E-8B158CF9DA25}"/>
              </a:ext>
            </a:extLst>
          </p:cNvPr>
          <p:cNvSpPr/>
          <p:nvPr/>
        </p:nvSpPr>
        <p:spPr>
          <a:xfrm>
            <a:off x="292608" y="2485398"/>
            <a:ext cx="8064500" cy="25212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fr-FR" sz="1050">
              <a:solidFill>
                <a:schemeClr val="tx2"/>
              </a:solidFill>
            </a:endParaRPr>
          </a:p>
          <a:p>
            <a:pPr marL="0" lvl="2">
              <a:spcBef>
                <a:spcPts val="400"/>
              </a:spcBef>
              <a:buSzPct val="100000"/>
            </a:pPr>
            <a:r>
              <a:rPr lang="fr-FR" sz="1600" b="1">
                <a:solidFill>
                  <a:schemeClr val="accent2"/>
                </a:solidFill>
              </a:rPr>
              <a:t>Principales actions 2022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 b="1">
                <a:solidFill>
                  <a:srgbClr val="FF0000"/>
                </a:solidFill>
              </a:rPr>
              <a:t>Rattraper le retard pris  sur le déploiement des actions sécurité à cause de l’arrêt de l’usine</a:t>
            </a:r>
            <a:r>
              <a:rPr lang="fr-FR" sz="1600">
                <a:solidFill>
                  <a:schemeClr val="tx2"/>
                </a:solidFill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>
                <a:solidFill>
                  <a:schemeClr val="tx2"/>
                </a:solidFill>
              </a:rPr>
              <a:t>Poursuite de l’adaptation du protocole sanitaire en fonction de l’évolution de la crise sanitaire Covid-19 au niveau national</a:t>
            </a:r>
            <a:r>
              <a:rPr lang="en-US" sz="1600">
                <a:solidFill>
                  <a:schemeClr val="tx2"/>
                </a:solidFill>
              </a:rPr>
              <a:t>​</a:t>
            </a:r>
            <a:endParaRPr lang="fr-FR" sz="160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>
                <a:solidFill>
                  <a:schemeClr val="tx2"/>
                </a:solidFill>
              </a:rPr>
              <a:t>Continuer le déploiement des EES et de SAFE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>
                <a:solidFill>
                  <a:schemeClr val="tx2"/>
                </a:solidFill>
              </a:rPr>
              <a:t>Déployer les démarches ergonomie au poste de travail (avec formation de l’ensemble du personnel et des chargés de projet), et l’inclure dans la mise à jour annuelle du document unique</a:t>
            </a:r>
            <a:r>
              <a:rPr lang="fr-FR" sz="1050">
                <a:solidFill>
                  <a:schemeClr val="tx2"/>
                </a:solidFill>
              </a:rPr>
              <a:t>.​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A7D50213-ABBF-47C6-8CC4-14F6D524A1B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F5AFD973-2C5D-4E5A-9FAA-14A1668A50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8573532"/>
              </p:ext>
            </p:extLst>
          </p:nvPr>
        </p:nvGraphicFramePr>
        <p:xfrm>
          <a:off x="395536" y="1259199"/>
          <a:ext cx="8064501" cy="910991"/>
        </p:xfrm>
        <a:graphic>
          <a:graphicData uri="http://schemas.openxmlformats.org/drawingml/2006/table">
            <a:tbl>
              <a:tblPr/>
              <a:tblGrid>
                <a:gridCol w="1707517">
                  <a:extLst>
                    <a:ext uri="{9D8B030D-6E8A-4147-A177-3AD203B41FA5}">
                      <a16:colId xmlns:a16="http://schemas.microsoft.com/office/drawing/2014/main" val="3777940250"/>
                    </a:ext>
                  </a:extLst>
                </a:gridCol>
                <a:gridCol w="1707517">
                  <a:extLst>
                    <a:ext uri="{9D8B030D-6E8A-4147-A177-3AD203B41FA5}">
                      <a16:colId xmlns:a16="http://schemas.microsoft.com/office/drawing/2014/main" val="2697986054"/>
                    </a:ext>
                  </a:extLst>
                </a:gridCol>
                <a:gridCol w="730536">
                  <a:extLst>
                    <a:ext uri="{9D8B030D-6E8A-4147-A177-3AD203B41FA5}">
                      <a16:colId xmlns:a16="http://schemas.microsoft.com/office/drawing/2014/main" val="249343009"/>
                    </a:ext>
                  </a:extLst>
                </a:gridCol>
                <a:gridCol w="627117">
                  <a:extLst>
                    <a:ext uri="{9D8B030D-6E8A-4147-A177-3AD203B41FA5}">
                      <a16:colId xmlns:a16="http://schemas.microsoft.com/office/drawing/2014/main" val="2423472712"/>
                    </a:ext>
                  </a:extLst>
                </a:gridCol>
                <a:gridCol w="627117">
                  <a:extLst>
                    <a:ext uri="{9D8B030D-6E8A-4147-A177-3AD203B41FA5}">
                      <a16:colId xmlns:a16="http://schemas.microsoft.com/office/drawing/2014/main" val="1709126110"/>
                    </a:ext>
                  </a:extLst>
                </a:gridCol>
                <a:gridCol w="627117">
                  <a:extLst>
                    <a:ext uri="{9D8B030D-6E8A-4147-A177-3AD203B41FA5}">
                      <a16:colId xmlns:a16="http://schemas.microsoft.com/office/drawing/2014/main" val="628977156"/>
                    </a:ext>
                  </a:extLst>
                </a:gridCol>
                <a:gridCol w="79215">
                  <a:extLst>
                    <a:ext uri="{9D8B030D-6E8A-4147-A177-3AD203B41FA5}">
                      <a16:colId xmlns:a16="http://schemas.microsoft.com/office/drawing/2014/main" val="2622270420"/>
                    </a:ext>
                  </a:extLst>
                </a:gridCol>
                <a:gridCol w="627117">
                  <a:extLst>
                    <a:ext uri="{9D8B030D-6E8A-4147-A177-3AD203B41FA5}">
                      <a16:colId xmlns:a16="http://schemas.microsoft.com/office/drawing/2014/main" val="3729665966"/>
                    </a:ext>
                  </a:extLst>
                </a:gridCol>
                <a:gridCol w="686528">
                  <a:extLst>
                    <a:ext uri="{9D8B030D-6E8A-4147-A177-3AD203B41FA5}">
                      <a16:colId xmlns:a16="http://schemas.microsoft.com/office/drawing/2014/main" val="3976586408"/>
                    </a:ext>
                  </a:extLst>
                </a:gridCol>
                <a:gridCol w="96818">
                  <a:extLst>
                    <a:ext uri="{9D8B030D-6E8A-4147-A177-3AD203B41FA5}">
                      <a16:colId xmlns:a16="http://schemas.microsoft.com/office/drawing/2014/main" val="2117021397"/>
                    </a:ext>
                  </a:extLst>
                </a:gridCol>
                <a:gridCol w="547902">
                  <a:extLst>
                    <a:ext uri="{9D8B030D-6E8A-4147-A177-3AD203B41FA5}">
                      <a16:colId xmlns:a16="http://schemas.microsoft.com/office/drawing/2014/main" val="508171705"/>
                    </a:ext>
                  </a:extLst>
                </a:gridCol>
              </a:tblGrid>
              <a:tr h="283751"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dicateurs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B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701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P4 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701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Ecar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701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B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701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Ecar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701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31/12/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701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7374013"/>
                  </a:ext>
                </a:extLst>
              </a:tr>
              <a:tr h="156810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écur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A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b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4495836"/>
                  </a:ext>
                </a:extLst>
              </a:tr>
              <a:tr h="156810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SA (dont postes aménagés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b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7273560"/>
                  </a:ext>
                </a:extLst>
              </a:tr>
              <a:tr h="156810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F1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di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583522"/>
                  </a:ext>
                </a:extLst>
              </a:tr>
              <a:tr h="156810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F2 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051596"/>
                  </a:ext>
                </a:extLst>
              </a:tr>
            </a:tbl>
          </a:graphicData>
        </a:graphic>
      </p:graphicFrame>
      <p:sp>
        <p:nvSpPr>
          <p:cNvPr id="13" name="Espace réservé du pied de page 5">
            <a:extLst>
              <a:ext uri="{FF2B5EF4-FFF2-40B4-BE49-F238E27FC236}">
                <a16:creationId xmlns:a16="http://schemas.microsoft.com/office/drawing/2014/main" id="{B4EAB9BB-AF2F-4F9A-A393-89281F7F92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</p:spTree>
    <p:extLst>
      <p:ext uri="{BB962C8B-B14F-4D97-AF65-F5344CB8AC3E}">
        <p14:creationId xmlns:p14="http://schemas.microsoft.com/office/powerpoint/2010/main" val="16632530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14" name="Diapositive think-cell" r:id="rId5" imgW="395" imgH="396" progId="TCLayout.ActiveDocument.1">
                  <p:embed/>
                </p:oleObj>
              </mc:Choice>
              <mc:Fallback>
                <p:oleObj name="Diapositive think-cell" r:id="rId5" imgW="395" imgH="396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2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0000" y="44625"/>
            <a:ext cx="8508750" cy="485954"/>
          </a:xfrm>
        </p:spPr>
        <p:txBody>
          <a:bodyPr/>
          <a:lstStyle/>
          <a:p>
            <a:r>
              <a:rPr lang="fr-FR"/>
              <a:t>Budget 2022 : Environnement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26</a:t>
            </a:fld>
            <a:endParaRPr lang="fr-FR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A9AB8551-E2D1-46C6-AB08-CD651AF7C6D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F044CBF0-6D5D-458C-85B0-F7EC7C4ABE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1805006"/>
              </p:ext>
            </p:extLst>
          </p:nvPr>
        </p:nvGraphicFramePr>
        <p:xfrm>
          <a:off x="359729" y="1140088"/>
          <a:ext cx="8064501" cy="910991"/>
        </p:xfrm>
        <a:graphic>
          <a:graphicData uri="http://schemas.openxmlformats.org/drawingml/2006/table">
            <a:tbl>
              <a:tblPr/>
              <a:tblGrid>
                <a:gridCol w="1707517">
                  <a:extLst>
                    <a:ext uri="{9D8B030D-6E8A-4147-A177-3AD203B41FA5}">
                      <a16:colId xmlns:a16="http://schemas.microsoft.com/office/drawing/2014/main" val="1234506321"/>
                    </a:ext>
                  </a:extLst>
                </a:gridCol>
                <a:gridCol w="1707517">
                  <a:extLst>
                    <a:ext uri="{9D8B030D-6E8A-4147-A177-3AD203B41FA5}">
                      <a16:colId xmlns:a16="http://schemas.microsoft.com/office/drawing/2014/main" val="3496197080"/>
                    </a:ext>
                  </a:extLst>
                </a:gridCol>
                <a:gridCol w="730536">
                  <a:extLst>
                    <a:ext uri="{9D8B030D-6E8A-4147-A177-3AD203B41FA5}">
                      <a16:colId xmlns:a16="http://schemas.microsoft.com/office/drawing/2014/main" val="3951391664"/>
                    </a:ext>
                  </a:extLst>
                </a:gridCol>
                <a:gridCol w="627117">
                  <a:extLst>
                    <a:ext uri="{9D8B030D-6E8A-4147-A177-3AD203B41FA5}">
                      <a16:colId xmlns:a16="http://schemas.microsoft.com/office/drawing/2014/main" val="365048178"/>
                    </a:ext>
                  </a:extLst>
                </a:gridCol>
                <a:gridCol w="627117">
                  <a:extLst>
                    <a:ext uri="{9D8B030D-6E8A-4147-A177-3AD203B41FA5}">
                      <a16:colId xmlns:a16="http://schemas.microsoft.com/office/drawing/2014/main" val="71795453"/>
                    </a:ext>
                  </a:extLst>
                </a:gridCol>
                <a:gridCol w="627117">
                  <a:extLst>
                    <a:ext uri="{9D8B030D-6E8A-4147-A177-3AD203B41FA5}">
                      <a16:colId xmlns:a16="http://schemas.microsoft.com/office/drawing/2014/main" val="216921729"/>
                    </a:ext>
                  </a:extLst>
                </a:gridCol>
                <a:gridCol w="79215">
                  <a:extLst>
                    <a:ext uri="{9D8B030D-6E8A-4147-A177-3AD203B41FA5}">
                      <a16:colId xmlns:a16="http://schemas.microsoft.com/office/drawing/2014/main" val="3261251633"/>
                    </a:ext>
                  </a:extLst>
                </a:gridCol>
                <a:gridCol w="627117">
                  <a:extLst>
                    <a:ext uri="{9D8B030D-6E8A-4147-A177-3AD203B41FA5}">
                      <a16:colId xmlns:a16="http://schemas.microsoft.com/office/drawing/2014/main" val="3593135062"/>
                    </a:ext>
                  </a:extLst>
                </a:gridCol>
                <a:gridCol w="686528">
                  <a:extLst>
                    <a:ext uri="{9D8B030D-6E8A-4147-A177-3AD203B41FA5}">
                      <a16:colId xmlns:a16="http://schemas.microsoft.com/office/drawing/2014/main" val="1319737630"/>
                    </a:ext>
                  </a:extLst>
                </a:gridCol>
                <a:gridCol w="96818">
                  <a:extLst>
                    <a:ext uri="{9D8B030D-6E8A-4147-A177-3AD203B41FA5}">
                      <a16:colId xmlns:a16="http://schemas.microsoft.com/office/drawing/2014/main" val="808870276"/>
                    </a:ext>
                  </a:extLst>
                </a:gridCol>
                <a:gridCol w="547902">
                  <a:extLst>
                    <a:ext uri="{9D8B030D-6E8A-4147-A177-3AD203B41FA5}">
                      <a16:colId xmlns:a16="http://schemas.microsoft.com/office/drawing/2014/main" val="1546827534"/>
                    </a:ext>
                  </a:extLst>
                </a:gridCol>
              </a:tblGrid>
              <a:tr h="283751"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dicateurs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B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701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P4 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701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Ecar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701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B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701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Ecar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701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31/12/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701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2754438"/>
                  </a:ext>
                </a:extLst>
              </a:tr>
              <a:tr h="156810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fr-FR" sz="900" b="1" i="0" u="none" strike="noStrike">
                          <a:effectLst/>
                          <a:latin typeface="Calibri"/>
                        </a:rPr>
                        <a:t>Environnemen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900" b="0" i="0" u="none" strike="noStrike">
                          <a:effectLst/>
                          <a:latin typeface="Calibri"/>
                        </a:rPr>
                        <a:t>Mise en demeure ouvert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900" b="0" i="0" u="none" strike="noStrike">
                          <a:effectLst/>
                          <a:latin typeface="Calibri"/>
                        </a:rPr>
                        <a:t>Nb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2101220"/>
                  </a:ext>
                </a:extLst>
              </a:tr>
              <a:tr h="156810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900" b="0" i="0" u="none" strike="noStrike">
                          <a:effectLst/>
                          <a:latin typeface="Calibri"/>
                        </a:rPr>
                        <a:t>Incident industrie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900" b="0" i="0" u="none" strike="noStrike">
                          <a:effectLst/>
                          <a:latin typeface="Calibri"/>
                        </a:rPr>
                        <a:t>Nb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4229027"/>
                  </a:ext>
                </a:extLst>
              </a:tr>
              <a:tr h="156810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900" b="0" i="0" u="none" strike="noStrike">
                          <a:effectLst/>
                          <a:latin typeface="Calibri"/>
                        </a:rPr>
                        <a:t>Consommation énergétique en GW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900" b="0" i="0" u="none" strike="noStrike">
                          <a:effectLst/>
                          <a:latin typeface="Calibri" panose="020F0502020204030204" pitchFamily="34" charset="0"/>
                        </a:rPr>
                        <a:t>Nb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,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10,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12,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945154"/>
                  </a:ext>
                </a:extLst>
              </a:tr>
              <a:tr h="156810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900" b="0" i="0" u="none" strike="noStrike">
                          <a:effectLst/>
                          <a:latin typeface="Calibri" panose="020F0502020204030204" pitchFamily="34" charset="0"/>
                        </a:rPr>
                        <a:t>Emission de CO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900" b="0" i="0" u="none" strike="noStrike">
                          <a:effectLst/>
                          <a:latin typeface="Calibri" panose="020F0502020204030204" pitchFamily="34" charset="0"/>
                        </a:rPr>
                        <a:t>tonne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5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78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6561653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7CFDBD2C-0B63-44B0-B60F-D3A91440B8B0}"/>
              </a:ext>
            </a:extLst>
          </p:cNvPr>
          <p:cNvSpPr/>
          <p:nvPr/>
        </p:nvSpPr>
        <p:spPr>
          <a:xfrm>
            <a:off x="359729" y="2418494"/>
            <a:ext cx="850875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endParaRPr lang="fr-FR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fontAlgn="base"/>
            <a:r>
              <a:rPr lang="fr-FR" b="1">
                <a:solidFill>
                  <a:srgbClr val="FA6414"/>
                </a:solidFill>
                <a:latin typeface="Arial" panose="020B0604020202020204" pitchFamily="34" charset="0"/>
              </a:rPr>
              <a:t>Principales actions 2022:</a:t>
            </a:r>
            <a:r>
              <a:rPr lang="fr-FR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fr-FR" sz="1400">
                <a:solidFill>
                  <a:schemeClr val="tx2"/>
                </a:solidFill>
              </a:rPr>
              <a:t>Risque mise en demeure de la DREAL sur isolation phonique de la façade est du bâtiment principal (40k€)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fr-FR" sz="1400">
                <a:solidFill>
                  <a:schemeClr val="tx2"/>
                </a:solidFill>
              </a:rPr>
              <a:t>Renforcer le management de l’énergie malgré absence de ressource dédiée, pour continuer à optimiser les consommations en électricité et gaz​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fr-FR" sz="1400">
                <a:solidFill>
                  <a:schemeClr val="tx2"/>
                </a:solidFill>
              </a:rPr>
              <a:t>Continuer le renforcement du PIU, en s’appuyant sur la mutualisation des ressources UKAD/EcoTitanium (DOI/HSE)​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fr-FR" sz="1400">
                <a:solidFill>
                  <a:schemeClr val="tx2"/>
                </a:solidFill>
              </a:rPr>
              <a:t>Préparer et mettre en œuvre des actions pour diminuer la consommation d’eau (gain économique + préparation des conséquences du changement climatique)​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fr-FR" sz="1400">
                <a:solidFill>
                  <a:schemeClr val="tx2"/>
                </a:solidFill>
              </a:rPr>
              <a:t>Recherche de nouvelles filières de valorisation pour les déchets titane (hors chutes et copeaux)</a:t>
            </a:r>
          </a:p>
        </p:txBody>
      </p:sp>
      <p:sp>
        <p:nvSpPr>
          <p:cNvPr id="13" name="Espace réservé du pied de page 5">
            <a:extLst>
              <a:ext uri="{FF2B5EF4-FFF2-40B4-BE49-F238E27FC236}">
                <a16:creationId xmlns:a16="http://schemas.microsoft.com/office/drawing/2014/main" id="{8A7850DA-344C-420C-88FC-EA34B9E9E3C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</p:spTree>
    <p:extLst>
      <p:ext uri="{BB962C8B-B14F-4D97-AF65-F5344CB8AC3E}">
        <p14:creationId xmlns:p14="http://schemas.microsoft.com/office/powerpoint/2010/main" val="32299448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5C7EF89-5B86-4BE7-8BAB-DA382E3330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1"/>
            <a:ext cx="8064000" cy="553156"/>
          </a:xfrm>
        </p:spPr>
        <p:txBody>
          <a:bodyPr/>
          <a:lstStyle/>
          <a:p>
            <a:r>
              <a:rPr lang="fr-FR"/>
              <a:t>Budget 2022 : Volumes vendus </a:t>
            </a:r>
          </a:p>
        </p:txBody>
      </p:sp>
      <p:graphicFrame>
        <p:nvGraphicFramePr>
          <p:cNvPr id="8" name="Tableau 8">
            <a:extLst>
              <a:ext uri="{FF2B5EF4-FFF2-40B4-BE49-F238E27FC236}">
                <a16:creationId xmlns:a16="http://schemas.microsoft.com/office/drawing/2014/main" id="{B8809B48-E5F9-40D3-AF73-934ABFAA68F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27028045"/>
              </p:ext>
            </p:extLst>
          </p:nvPr>
        </p:nvGraphicFramePr>
        <p:xfrm>
          <a:off x="1422815" y="1151549"/>
          <a:ext cx="5718546" cy="4719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129725">
                  <a:extLst>
                    <a:ext uri="{9D8B030D-6E8A-4147-A177-3AD203B41FA5}">
                      <a16:colId xmlns:a16="http://schemas.microsoft.com/office/drawing/2014/main" val="3952107749"/>
                    </a:ext>
                  </a:extLst>
                </a:gridCol>
                <a:gridCol w="1365663">
                  <a:extLst>
                    <a:ext uri="{9D8B030D-6E8A-4147-A177-3AD203B41FA5}">
                      <a16:colId xmlns:a16="http://schemas.microsoft.com/office/drawing/2014/main" val="2868747111"/>
                    </a:ext>
                  </a:extLst>
                </a:gridCol>
                <a:gridCol w="1223158">
                  <a:extLst>
                    <a:ext uri="{9D8B030D-6E8A-4147-A177-3AD203B41FA5}">
                      <a16:colId xmlns:a16="http://schemas.microsoft.com/office/drawing/2014/main" val="145984985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FR"/>
                        <a:t>Destination cli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Nbr de lingo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Volum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9170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err="1"/>
                        <a:t>Böh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/>
                        <a:t>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57089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/>
                        <a:t>Bombard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/>
                        <a:t>1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87527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/>
                        <a:t>AMS 49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/>
                        <a:t>7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77453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/>
                        <a:t>Hémisphères indie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5839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/>
                        <a:t>Safr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/>
                        <a:t>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/>
                        <a:t>29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16665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/>
                        <a:t>MCC </a:t>
                      </a:r>
                      <a:r>
                        <a:rPr lang="fr-FR" err="1"/>
                        <a:t>Trunnion</a:t>
                      </a:r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/>
                        <a:t>3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5469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/>
                        <a:t>Dassau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96958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/>
                        <a:t>Otto Fuc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95806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/>
                        <a:t>Fondeurs – stockis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/>
                        <a:t>2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53693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/>
                        <a:t>Ventes lingo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/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/>
                        <a:t>8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04796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fr-FR"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fr-FR"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98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fr-FR"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706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084359"/>
                  </a:ext>
                </a:extLst>
              </a:tr>
            </a:tbl>
          </a:graphicData>
        </a:graphic>
      </p:graphicFrame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799F258-6F07-484D-953D-A8879FD63F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C79F0AA4-FAA0-47D2-82A1-8C1A2E882C3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C92EA85-E962-4308-81E1-E36BAE0191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27</a:t>
            </a:fld>
            <a:endParaRPr lang="fr-FR"/>
          </a:p>
        </p:txBody>
      </p:sp>
      <p:sp>
        <p:nvSpPr>
          <p:cNvPr id="9" name="Espace réservé du pied de page 5">
            <a:extLst>
              <a:ext uri="{FF2B5EF4-FFF2-40B4-BE49-F238E27FC236}">
                <a16:creationId xmlns:a16="http://schemas.microsoft.com/office/drawing/2014/main" id="{BB381955-187C-43F5-ABF2-01598245257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</p:spTree>
    <p:extLst>
      <p:ext uri="{BB962C8B-B14F-4D97-AF65-F5344CB8AC3E}">
        <p14:creationId xmlns:p14="http://schemas.microsoft.com/office/powerpoint/2010/main" val="27731827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5C7EF89-5B86-4BE7-8BAB-DA382E3330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1"/>
            <a:ext cx="8064000" cy="553156"/>
          </a:xfrm>
        </p:spPr>
        <p:txBody>
          <a:bodyPr/>
          <a:lstStyle/>
          <a:p>
            <a:r>
              <a:rPr lang="fr-FR"/>
              <a:t>Budget 2022 : Production 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C79F0AA4-FAA0-47D2-82A1-8C1A2E882C3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C92EA85-E962-4308-81E1-E36BAE0191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28</a:t>
            </a:fld>
            <a:endParaRPr lang="fr-FR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8A02537-8BFB-4448-9624-2FFAEEE5DD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4902" y="1222433"/>
            <a:ext cx="5727940" cy="2893094"/>
          </a:xfrm>
          <a:prstGeom prst="rect">
            <a:avLst/>
          </a:prstGeom>
        </p:spPr>
      </p:pic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4F959F49-D74E-41E3-9436-A0ACD6955CEA}"/>
              </a:ext>
            </a:extLst>
          </p:cNvPr>
          <p:cNvSpPr txBox="1">
            <a:spLocks/>
          </p:cNvSpPr>
          <p:nvPr/>
        </p:nvSpPr>
        <p:spPr bwMode="gray">
          <a:xfrm>
            <a:off x="794420" y="4057178"/>
            <a:ext cx="7195120" cy="2574704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endParaRPr lang="fr-FR"/>
          </a:p>
          <a:p>
            <a:pPr lvl="2"/>
            <a:r>
              <a:rPr lang="fr-FR" b="0"/>
              <a:t>Montée en compétence des équipes pour doubler la production entre le début de l’année et la fin d’année</a:t>
            </a:r>
          </a:p>
          <a:p>
            <a:pPr lvl="2"/>
            <a:endParaRPr lang="fr-FR" b="0"/>
          </a:p>
          <a:p>
            <a:pPr lvl="2"/>
            <a:r>
              <a:rPr lang="fr-FR" b="0"/>
              <a:t>Pour poursuivre cette croissance d’activité sur 2023, de nouveaux recrutements seront nécessaires  (coûts non pris en compte dans le budget 2022)</a:t>
            </a:r>
            <a:endParaRPr lang="fr-FR"/>
          </a:p>
        </p:txBody>
      </p:sp>
      <p:sp>
        <p:nvSpPr>
          <p:cNvPr id="8" name="Espace réservé du pied de page 5">
            <a:extLst>
              <a:ext uri="{FF2B5EF4-FFF2-40B4-BE49-F238E27FC236}">
                <a16:creationId xmlns:a16="http://schemas.microsoft.com/office/drawing/2014/main" id="{C0090585-67FD-4217-A273-65F4AC5E75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</p:spTree>
    <p:extLst>
      <p:ext uri="{BB962C8B-B14F-4D97-AF65-F5344CB8AC3E}">
        <p14:creationId xmlns:p14="http://schemas.microsoft.com/office/powerpoint/2010/main" val="418939746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386" name="Diapositive think-cell" r:id="rId5" imgW="395" imgH="396" progId="TCLayout.ActiveDocument.1">
                  <p:embed/>
                </p:oleObj>
              </mc:Choice>
              <mc:Fallback>
                <p:oleObj name="Diapositive think-cell" r:id="rId5" imgW="395" imgH="396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0000" y="92362"/>
            <a:ext cx="8508750" cy="505949"/>
          </a:xfrm>
        </p:spPr>
        <p:txBody>
          <a:bodyPr/>
          <a:lstStyle/>
          <a:p>
            <a:r>
              <a:rPr lang="fr-FR"/>
              <a:t>Budget 2022 : KPIs financiers 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29</a:t>
            </a:fld>
            <a:endParaRPr lang="fr-FR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1AEFDDE2-2F73-42B5-8A6A-107792F0157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E5E326FA-C56F-4BFA-9563-852916F8D216}"/>
              </a:ext>
            </a:extLst>
          </p:cNvPr>
          <p:cNvSpPr txBox="1">
            <a:spLocks/>
          </p:cNvSpPr>
          <p:nvPr/>
        </p:nvSpPr>
        <p:spPr bwMode="gray">
          <a:xfrm>
            <a:off x="5004202" y="2199198"/>
            <a:ext cx="3832386" cy="1380507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8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endParaRPr lang="fr-FR"/>
          </a:p>
          <a:p>
            <a:pPr lvl="2"/>
            <a:r>
              <a:rPr lang="fr-FR" b="0"/>
              <a:t>Budget 2022 conforme aux grandes lignes définies dans le cadre du </a:t>
            </a:r>
            <a:r>
              <a:rPr lang="fr-FR" b="0" err="1"/>
              <a:t>ramp</a:t>
            </a:r>
            <a:r>
              <a:rPr lang="fr-FR" b="0"/>
              <a:t> up du PLT.  </a:t>
            </a:r>
            <a:endParaRPr lang="fr-FR"/>
          </a:p>
          <a:p>
            <a:pPr lvl="2"/>
            <a:endParaRPr lang="fr-FR" b="0"/>
          </a:p>
          <a:p>
            <a:pPr marL="0" lvl="2" indent="0">
              <a:buFontTx/>
              <a:buNone/>
            </a:pPr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D006363-D1EA-4E27-A1BA-264D68A2D39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3978" y="1540823"/>
            <a:ext cx="4465993" cy="3399312"/>
          </a:xfrm>
          <a:prstGeom prst="rect">
            <a:avLst/>
          </a:prstGeom>
        </p:spPr>
      </p:pic>
      <p:sp>
        <p:nvSpPr>
          <p:cNvPr id="12" name="Espace réservé du pied de page 5">
            <a:extLst>
              <a:ext uri="{FF2B5EF4-FFF2-40B4-BE49-F238E27FC236}">
                <a16:creationId xmlns:a16="http://schemas.microsoft.com/office/drawing/2014/main" id="{BD9F33C3-0527-4E72-A209-444B51E09AA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</p:spTree>
    <p:extLst>
      <p:ext uri="{BB962C8B-B14F-4D97-AF65-F5344CB8AC3E}">
        <p14:creationId xmlns:p14="http://schemas.microsoft.com/office/powerpoint/2010/main" val="27881552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2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0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24" name="Espace réservé du texte 23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fr-FR"/>
              <a:t>Point industriel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4294967295"/>
          </p:nvPr>
        </p:nvSpPr>
        <p:spPr bwMode="gray">
          <a:xfrm>
            <a:off x="0" y="-11113"/>
            <a:ext cx="3576638" cy="1735138"/>
          </a:xfrm>
        </p:spPr>
        <p:txBody>
          <a:bodyPr/>
          <a:lstStyle/>
          <a:p>
            <a:r>
              <a:rPr lang="fr-FR"/>
              <a:t> 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51722877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10" name="Diapositive think-cell" r:id="rId5" imgW="395" imgH="396" progId="TCLayout.ActiveDocument.1">
                  <p:embed/>
                </p:oleObj>
              </mc:Choice>
              <mc:Fallback>
                <p:oleObj name="Diapositive think-cell" r:id="rId5" imgW="395" imgH="396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0000" y="175491"/>
            <a:ext cx="8508750" cy="390701"/>
          </a:xfrm>
        </p:spPr>
        <p:txBody>
          <a:bodyPr/>
          <a:lstStyle/>
          <a:p>
            <a:r>
              <a:rPr lang="fr-FR"/>
              <a:t>Budget 2022 : </a:t>
            </a:r>
            <a:r>
              <a:rPr lang="fr-FR" err="1"/>
              <a:t>Supply-chain</a:t>
            </a:r>
            <a:r>
              <a:rPr lang="fr-FR"/>
              <a:t> – stocks nets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30</a:t>
            </a:fld>
            <a:endParaRPr lang="fr-FR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9BB0D86D-5258-448B-90AA-B697FBB0102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B2A2FA8A-F5A9-4DCB-ABDE-250CB6607EB4}"/>
              </a:ext>
            </a:extLst>
          </p:cNvPr>
          <p:cNvSpPr txBox="1">
            <a:spLocks/>
          </p:cNvSpPr>
          <p:nvPr/>
        </p:nvSpPr>
        <p:spPr bwMode="gray">
          <a:xfrm>
            <a:off x="431764" y="4454759"/>
            <a:ext cx="8280472" cy="1782553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8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endParaRPr lang="fr-FR"/>
          </a:p>
          <a:p>
            <a:pPr lvl="2"/>
            <a:r>
              <a:rPr lang="fr-FR" b="0"/>
              <a:t>Reconstitution des stocks en corrélation avec le niveau d’activité. </a:t>
            </a:r>
          </a:p>
          <a:p>
            <a:pPr lvl="2"/>
            <a:endParaRPr lang="fr-FR" b="0"/>
          </a:p>
          <a:p>
            <a:pPr lvl="2"/>
            <a:r>
              <a:rPr lang="fr-FR" b="0"/>
              <a:t>Un stock à 3,1m€ représentera 3 mois de CA en décembre 2022, dont 1m€ de chutes </a:t>
            </a:r>
            <a:r>
              <a:rPr lang="fr-FR" b="0" err="1"/>
              <a:t>processées</a:t>
            </a:r>
            <a:r>
              <a:rPr lang="fr-FR" b="0"/>
              <a:t> ou encours de </a:t>
            </a:r>
            <a:r>
              <a:rPr lang="fr-FR" b="0" err="1"/>
              <a:t>processing</a:t>
            </a:r>
            <a:r>
              <a:rPr lang="fr-FR" b="0"/>
              <a:t> (temps de cycle 5 à 6 mois)</a:t>
            </a:r>
          </a:p>
          <a:p>
            <a:pPr lvl="2"/>
            <a:endParaRPr lang="fr-FR" b="0"/>
          </a:p>
          <a:p>
            <a:pPr lvl="2"/>
            <a:endParaRPr lang="fr-FR" b="0"/>
          </a:p>
          <a:p>
            <a:pPr marL="0" lvl="2" indent="0">
              <a:buFontTx/>
              <a:buNone/>
            </a:pPr>
            <a:endParaRPr lang="fr-FR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0BBD4713-395B-45D2-A507-00AE74EC428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9550" y="1619199"/>
            <a:ext cx="3459361" cy="1782553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9F11F0A4-29FF-4F09-AC8D-343399B6422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82088" y="1352177"/>
            <a:ext cx="4584589" cy="2755631"/>
          </a:xfrm>
          <a:prstGeom prst="rect">
            <a:avLst/>
          </a:prstGeom>
        </p:spPr>
      </p:pic>
      <p:sp>
        <p:nvSpPr>
          <p:cNvPr id="12" name="Espace réservé du pied de page 5">
            <a:extLst>
              <a:ext uri="{FF2B5EF4-FFF2-40B4-BE49-F238E27FC236}">
                <a16:creationId xmlns:a16="http://schemas.microsoft.com/office/drawing/2014/main" id="{99A55A5E-32F2-41DD-AB88-5450369896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</p:spTree>
    <p:extLst>
      <p:ext uri="{BB962C8B-B14F-4D97-AF65-F5344CB8AC3E}">
        <p14:creationId xmlns:p14="http://schemas.microsoft.com/office/powerpoint/2010/main" val="5572762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34" name="Diapositive think-cell" r:id="rId5" imgW="395" imgH="396" progId="TCLayout.ActiveDocument.1">
                  <p:embed/>
                </p:oleObj>
              </mc:Choice>
              <mc:Fallback>
                <p:oleObj name="Diapositive think-cell" r:id="rId5" imgW="395" imgH="396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0000" y="44624"/>
            <a:ext cx="8508750" cy="497243"/>
          </a:xfrm>
        </p:spPr>
        <p:txBody>
          <a:bodyPr/>
          <a:lstStyle/>
          <a:p>
            <a:r>
              <a:rPr lang="fr-FR"/>
              <a:t>Budget 2022 : Frais généraux 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31</a:t>
            </a:fld>
            <a:endParaRPr lang="fr-FR"/>
          </a:p>
        </p:txBody>
      </p:sp>
      <p:sp>
        <p:nvSpPr>
          <p:cNvPr id="9" name="Espace réservé du pied de page 5"/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/>
              <a:t>B. 2022 EcoTitanium - CONFIDENTIEL C2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15DE103-D5C1-484C-8B16-FD91295F5E7F}"/>
              </a:ext>
            </a:extLst>
          </p:cNvPr>
          <p:cNvSpPr/>
          <p:nvPr/>
        </p:nvSpPr>
        <p:spPr>
          <a:xfrm>
            <a:off x="539550" y="5435919"/>
            <a:ext cx="80788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indent="0">
              <a:buNone/>
            </a:pPr>
            <a:endParaRPr lang="fr-FR" sz="1100"/>
          </a:p>
          <a:p>
            <a:pPr marL="0" lvl="2" indent="0">
              <a:buNone/>
            </a:pPr>
            <a:endParaRPr lang="fr-FR" sz="1100"/>
          </a:p>
          <a:p>
            <a:pPr marL="0" lvl="2" indent="0">
              <a:buNone/>
            </a:pPr>
            <a:endParaRPr lang="fr-FR" sz="1100"/>
          </a:p>
          <a:p>
            <a:pPr marL="0" lvl="2" indent="0">
              <a:buNone/>
            </a:pPr>
            <a:endParaRPr lang="fr-FR" sz="110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A3DD4D0D-1443-46F0-9C93-6215AB0F310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F8CF7767-6CE8-4260-832A-2AD21F134FF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1301" y="1093582"/>
            <a:ext cx="9144000" cy="1848084"/>
          </a:xfrm>
          <a:prstGeom prst="rect">
            <a:avLst/>
          </a:prstGeom>
        </p:spPr>
      </p:pic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id="{F18439D2-E424-4432-9B15-E2B6D44576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8270" y="2937224"/>
            <a:ext cx="8618287" cy="3321040"/>
          </a:xfrm>
          <a:ln>
            <a:noFill/>
          </a:ln>
        </p:spPr>
        <p:txBody>
          <a:bodyPr/>
          <a:lstStyle/>
          <a:p>
            <a:pPr lvl="2"/>
            <a:r>
              <a:rPr lang="fr-FR" sz="1200"/>
              <a:t>Frais généraux : </a:t>
            </a:r>
          </a:p>
          <a:p>
            <a:pPr lvl="3"/>
            <a:r>
              <a:rPr lang="fr-FR" sz="1200"/>
              <a:t>	Augmentation principalement liée à la reprise d’une activité complète sur l’année</a:t>
            </a:r>
          </a:p>
          <a:p>
            <a:pPr lvl="3"/>
            <a:r>
              <a:rPr lang="fr-FR" sz="1200"/>
              <a:t>	Nouvelle direction titane en place (refacturée par UKAD)</a:t>
            </a:r>
          </a:p>
          <a:p>
            <a:pPr lvl="3"/>
            <a:endParaRPr lang="fr-FR" sz="1200"/>
          </a:p>
          <a:p>
            <a:pPr lvl="2"/>
            <a:r>
              <a:rPr lang="fr-FR" sz="1200"/>
              <a:t>R&amp;D  : 	Budget annuel estimé à 300k€</a:t>
            </a:r>
          </a:p>
          <a:p>
            <a:pPr marL="819150" lvl="2" indent="-285750">
              <a:buFont typeface="Wingdings" panose="05000000000000000000" pitchFamily="2" charset="2"/>
              <a:buChar char="Ø"/>
            </a:pPr>
            <a:r>
              <a:rPr lang="fr-FR" sz="1200" b="0"/>
              <a:t>Analyses des défauts d’élaboration, qualification de nouveaux fournisseurs (éponges AMIC, éponges standard </a:t>
            </a:r>
            <a:r>
              <a:rPr lang="fr-FR" sz="1200" b="0" err="1"/>
              <a:t>Toho</a:t>
            </a:r>
            <a:r>
              <a:rPr lang="fr-FR" sz="1200" b="0"/>
              <a:t>, nouveaux </a:t>
            </a:r>
            <a:r>
              <a:rPr lang="fr-FR" sz="1200" b="0" err="1"/>
              <a:t>masteralloy</a:t>
            </a:r>
            <a:r>
              <a:rPr lang="fr-FR" sz="1200" b="0"/>
              <a:t>…),</a:t>
            </a:r>
          </a:p>
          <a:p>
            <a:pPr marL="819150" lvl="2" indent="-285750">
              <a:buFont typeface="Wingdings" panose="05000000000000000000" pitchFamily="2" charset="2"/>
              <a:buChar char="Ø"/>
            </a:pPr>
            <a:r>
              <a:rPr lang="fr-FR" sz="1200" b="0"/>
              <a:t>Financement de la thèse qui vient d’être signé par Jérôme Fabre,</a:t>
            </a:r>
          </a:p>
          <a:p>
            <a:pPr marL="819150" lvl="2" indent="-285750">
              <a:buFont typeface="Wingdings" panose="05000000000000000000" pitchFamily="2" charset="2"/>
              <a:buChar char="Ø"/>
            </a:pPr>
            <a:r>
              <a:rPr lang="fr-FR" sz="1200" b="0"/>
              <a:t>Essais que l’on pourra mener sur </a:t>
            </a:r>
            <a:r>
              <a:rPr lang="fr-FR" sz="1200" b="0" err="1"/>
              <a:t>MetaFensch</a:t>
            </a:r>
            <a:r>
              <a:rPr lang="fr-FR" sz="1200" b="0"/>
              <a:t>,</a:t>
            </a:r>
          </a:p>
          <a:p>
            <a:pPr marL="819150" lvl="2" indent="-285750">
              <a:buFont typeface="Wingdings" panose="05000000000000000000" pitchFamily="2" charset="2"/>
              <a:buChar char="Ø"/>
            </a:pPr>
            <a:r>
              <a:rPr lang="fr-FR" sz="1200" b="0"/>
              <a:t>Support au process.</a:t>
            </a:r>
          </a:p>
          <a:p>
            <a:pPr lvl="2"/>
            <a:endParaRPr lang="fr-FR" sz="1200"/>
          </a:p>
          <a:p>
            <a:pPr lvl="2"/>
            <a:r>
              <a:rPr lang="fr-FR" sz="1200"/>
              <a:t>Frais de personnel : + 2ETP</a:t>
            </a:r>
          </a:p>
          <a:p>
            <a:pPr lvl="3"/>
            <a:r>
              <a:rPr lang="fr-FR" sz="1200"/>
              <a:t>	+1 ingénieur projet en janvier 2022,</a:t>
            </a:r>
          </a:p>
          <a:p>
            <a:pPr lvl="3"/>
            <a:r>
              <a:rPr lang="fr-FR" sz="1200"/>
              <a:t>	+1 technicien </a:t>
            </a:r>
            <a:r>
              <a:rPr lang="fr-FR" sz="1200" err="1"/>
              <a:t>supply</a:t>
            </a:r>
            <a:r>
              <a:rPr lang="fr-FR" sz="1200"/>
              <a:t> </a:t>
            </a:r>
            <a:r>
              <a:rPr lang="fr-FR" sz="1200" err="1"/>
              <a:t>chain</a:t>
            </a:r>
            <a:r>
              <a:rPr lang="fr-FR" sz="1200"/>
              <a:t> en juin 2022.</a:t>
            </a:r>
          </a:p>
          <a:p>
            <a:pPr lvl="3"/>
            <a:r>
              <a:rPr lang="fr-FR" sz="1200"/>
              <a:t>	</a:t>
            </a:r>
          </a:p>
          <a:p>
            <a:pPr lvl="3"/>
            <a:r>
              <a:rPr lang="fr-FR" sz="1000"/>
              <a:t>* Les chiffres budget 2021 intégraient les </a:t>
            </a:r>
            <a:r>
              <a:rPr lang="fr-FR" sz="1000" i="1"/>
              <a:t>refacturations de mise à disposition qui sont intégrées en réel au CA divers. </a:t>
            </a:r>
          </a:p>
          <a:p>
            <a:pPr lvl="2">
              <a:buFont typeface="Arial" panose="020B0604020202020204" pitchFamily="34" charset="0"/>
              <a:buChar char="•"/>
            </a:pPr>
            <a:endParaRPr lang="fr-FR" sz="1200" b="0"/>
          </a:p>
          <a:p>
            <a:pPr marL="0" lvl="2" indent="0">
              <a:buNone/>
            </a:pPr>
            <a:endParaRPr lang="fr-FR" sz="1200"/>
          </a:p>
        </p:txBody>
      </p:sp>
      <p:sp>
        <p:nvSpPr>
          <p:cNvPr id="13" name="Espace réservé du pied de page 5">
            <a:extLst>
              <a:ext uri="{FF2B5EF4-FFF2-40B4-BE49-F238E27FC236}">
                <a16:creationId xmlns:a16="http://schemas.microsoft.com/office/drawing/2014/main" id="{3DE0D2F0-B212-402F-B572-77EF7BAABB01}"/>
              </a:ext>
            </a:extLst>
          </p:cNvPr>
          <p:cNvSpPr txBox="1">
            <a:spLocks/>
          </p:cNvSpPr>
          <p:nvPr/>
        </p:nvSpPr>
        <p:spPr bwMode="gray">
          <a:xfrm>
            <a:off x="880376" y="6210970"/>
            <a:ext cx="3420000" cy="440684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ctr" defTabSz="457200" rtl="0" eaLnBrk="1" latinLnBrk="0" hangingPunct="1">
              <a:lnSpc>
                <a:spcPct val="90000"/>
              </a:lnSpc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</p:spTree>
    <p:extLst>
      <p:ext uri="{BB962C8B-B14F-4D97-AF65-F5344CB8AC3E}">
        <p14:creationId xmlns:p14="http://schemas.microsoft.com/office/powerpoint/2010/main" val="34986985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458" name="Diapositive think-cell" r:id="rId5" imgW="395" imgH="396" progId="TCLayout.ActiveDocument.1">
                  <p:embed/>
                </p:oleObj>
              </mc:Choice>
              <mc:Fallback>
                <p:oleObj name="Diapositive think-cell" r:id="rId5" imgW="395" imgH="396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0000" y="44625"/>
            <a:ext cx="8508750" cy="564976"/>
          </a:xfrm>
        </p:spPr>
        <p:txBody>
          <a:bodyPr/>
          <a:lstStyle/>
          <a:p>
            <a:r>
              <a:rPr lang="fr-FR"/>
              <a:t>Budget 2022 : Activité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32</a:t>
            </a:fld>
            <a:endParaRPr lang="fr-FR"/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E46B719D-1048-486F-9033-A17DE0A36779}"/>
              </a:ext>
            </a:extLst>
          </p:cNvPr>
          <p:cNvSpPr txBox="1">
            <a:spLocks/>
          </p:cNvSpPr>
          <p:nvPr/>
        </p:nvSpPr>
        <p:spPr bwMode="gray">
          <a:xfrm>
            <a:off x="1906764" y="1782089"/>
            <a:ext cx="5330472" cy="1274643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7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buNone/>
            </a:pPr>
            <a:r>
              <a:rPr lang="fr-FR" sz="2800">
                <a:solidFill>
                  <a:schemeClr val="accent2"/>
                </a:solidFill>
              </a:rPr>
              <a:t>Objectif TRS PAM fin 2022 60%</a:t>
            </a:r>
          </a:p>
          <a:p>
            <a:pPr lvl="2"/>
            <a:endParaRPr lang="fr-FR" sz="1200"/>
          </a:p>
          <a:p>
            <a:pPr marL="0" lvl="2" indent="0" algn="ctr">
              <a:buNone/>
            </a:pPr>
            <a:r>
              <a:rPr lang="fr-FR" sz="1200"/>
              <a:t>Objectif qui reste ambitieux au regard du nombre d’opérateurs compétents au redémarrage</a:t>
            </a:r>
          </a:p>
          <a:p>
            <a:pPr lvl="3"/>
            <a:endParaRPr lang="fr-FR" sz="1200"/>
          </a:p>
          <a:p>
            <a:pPr lvl="3"/>
            <a:endParaRPr lang="fr-FR" sz="1200"/>
          </a:p>
        </p:txBody>
      </p:sp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E7CCDAB6-C287-4D84-B3E1-4FD9365769FC}"/>
              </a:ext>
            </a:extLst>
          </p:cNvPr>
          <p:cNvGraphicFramePr>
            <a:graphicFrameLocks noGrp="1"/>
          </p:cNvGraphicFramePr>
          <p:nvPr/>
        </p:nvGraphicFramePr>
        <p:xfrm>
          <a:off x="240798" y="3861048"/>
          <a:ext cx="8662404" cy="18897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887468">
                  <a:extLst>
                    <a:ext uri="{9D8B030D-6E8A-4147-A177-3AD203B41FA5}">
                      <a16:colId xmlns:a16="http://schemas.microsoft.com/office/drawing/2014/main" val="3905879639"/>
                    </a:ext>
                  </a:extLst>
                </a:gridCol>
                <a:gridCol w="2887468">
                  <a:extLst>
                    <a:ext uri="{9D8B030D-6E8A-4147-A177-3AD203B41FA5}">
                      <a16:colId xmlns:a16="http://schemas.microsoft.com/office/drawing/2014/main" val="478061332"/>
                    </a:ext>
                  </a:extLst>
                </a:gridCol>
                <a:gridCol w="2887468">
                  <a:extLst>
                    <a:ext uri="{9D8B030D-6E8A-4147-A177-3AD203B41FA5}">
                      <a16:colId xmlns:a16="http://schemas.microsoft.com/office/drawing/2014/main" val="1115949720"/>
                    </a:ext>
                  </a:extLst>
                </a:gridCol>
              </a:tblGrid>
              <a:tr h="361822">
                <a:tc>
                  <a:txBody>
                    <a:bodyPr/>
                    <a:lstStyle/>
                    <a:p>
                      <a:pPr algn="ctr"/>
                      <a:r>
                        <a:rPr lang="fr-FR" sz="1100"/>
                        <a:t>Principales actions</a:t>
                      </a:r>
                    </a:p>
                  </a:txBody>
                  <a:tcPr>
                    <a:solidFill>
                      <a:srgbClr val="F2701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/>
                        <a:t>Moyens nécessaires à l'atteinte des </a:t>
                      </a:r>
                      <a:r>
                        <a:rPr lang="fr-FR" sz="1100" err="1"/>
                        <a:t>obj</a:t>
                      </a:r>
                      <a:r>
                        <a:rPr lang="fr-FR" sz="1100"/>
                        <a:t>./ Risques identifiés</a:t>
                      </a:r>
                    </a:p>
                  </a:txBody>
                  <a:tcPr>
                    <a:solidFill>
                      <a:srgbClr val="F2701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/>
                        <a:t>Personne en charge</a:t>
                      </a:r>
                    </a:p>
                  </a:txBody>
                  <a:tcPr>
                    <a:solidFill>
                      <a:srgbClr val="F2701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108977"/>
                  </a:ext>
                </a:extLst>
              </a:tr>
              <a:tr h="1139125">
                <a:tc>
                  <a:txBody>
                    <a:bodyPr/>
                    <a:lstStyle/>
                    <a:p>
                      <a:pPr marL="93663" indent="-93663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fr-FR" sz="1000"/>
                        <a:t>Poursuite fiabilisation unité de recyclage hélium</a:t>
                      </a:r>
                    </a:p>
                    <a:p>
                      <a:pPr marL="93663" indent="-93663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fr-FR" sz="1000"/>
                        <a:t>Fiabilisation creuset d’affinage n°2</a:t>
                      </a:r>
                    </a:p>
                    <a:p>
                      <a:pPr marL="93663" indent="-93663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fr-FR" sz="1000"/>
                        <a:t>Amélioration de la « durée de vie » des hublots d’observation</a:t>
                      </a:r>
                    </a:p>
                    <a:p>
                      <a:pPr marL="93663" indent="-93663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fr-FR" sz="1000"/>
                        <a:t>Optimisation des intercampagnes</a:t>
                      </a:r>
                    </a:p>
                    <a:p>
                      <a:pPr marL="93663" indent="-93663">
                        <a:buFont typeface="Arial" panose="020B0604020202020204" pitchFamily="34" charset="0"/>
                        <a:buChar char="•"/>
                      </a:pPr>
                      <a:endParaRPr lang="fr-FR" sz="10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93663" indent="-93663">
                        <a:buFont typeface="Arial" panose="020B0604020202020204" pitchFamily="34" charset="0"/>
                        <a:buChar char="•"/>
                      </a:pPr>
                      <a:r>
                        <a:rPr lang="fr-FR" sz="1000"/>
                        <a:t>Investissement</a:t>
                      </a:r>
                    </a:p>
                    <a:p>
                      <a:pPr marL="93663" indent="-93663">
                        <a:buFont typeface="Arial" panose="020B0604020202020204" pitchFamily="34" charset="0"/>
                        <a:buChar char="•"/>
                      </a:pPr>
                      <a:endParaRPr lang="fr-FR" sz="1000"/>
                    </a:p>
                    <a:p>
                      <a:pPr marL="93663" indent="-93663">
                        <a:buFont typeface="Arial" panose="020B0604020202020204" pitchFamily="34" charset="0"/>
                        <a:buChar char="•"/>
                      </a:pPr>
                      <a:r>
                        <a:rPr lang="fr-FR" sz="1000"/>
                        <a:t>Achat nouveau creuset d’affinage n°2</a:t>
                      </a:r>
                    </a:p>
                    <a:p>
                      <a:pPr marL="93663" indent="-93663">
                        <a:buFont typeface="Arial" panose="020B0604020202020204" pitchFamily="34" charset="0"/>
                        <a:buChar char="•"/>
                      </a:pPr>
                      <a:endParaRPr lang="fr-FR" sz="1000"/>
                    </a:p>
                    <a:p>
                      <a:pPr marL="93663" indent="-93663">
                        <a:buFont typeface="Arial" panose="020B0604020202020204" pitchFamily="34" charset="0"/>
                        <a:buChar char="•"/>
                      </a:pPr>
                      <a:r>
                        <a:rPr lang="fr-FR" sz="1000"/>
                        <a:t>Investissement</a:t>
                      </a:r>
                    </a:p>
                    <a:p>
                      <a:pPr marL="93663" indent="-93663">
                        <a:buFont typeface="Arial" panose="020B0604020202020204" pitchFamily="34" charset="0"/>
                        <a:buChar char="•"/>
                      </a:pPr>
                      <a:endParaRPr lang="fr-FR" sz="1000"/>
                    </a:p>
                    <a:p>
                      <a:pPr marL="93663" indent="-93663">
                        <a:buFont typeface="Arial" panose="020B0604020202020204" pitchFamily="34" charset="0"/>
                        <a:buChar char="•"/>
                      </a:pPr>
                      <a:r>
                        <a:rPr lang="fr-FR" sz="1000"/>
                        <a:t>Organisation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93663" indent="-93663">
                        <a:buFont typeface="Arial" panose="020B0604020202020204" pitchFamily="34" charset="0"/>
                        <a:buChar char="•"/>
                      </a:pPr>
                      <a:r>
                        <a:rPr lang="fr-FR" sz="1000"/>
                        <a:t>Responsable maintenance</a:t>
                      </a:r>
                    </a:p>
                    <a:p>
                      <a:pPr marL="93663" indent="-93663">
                        <a:buFont typeface="Arial" panose="020B0604020202020204" pitchFamily="34" charset="0"/>
                        <a:buChar char="•"/>
                      </a:pPr>
                      <a:endParaRPr lang="fr-FR" sz="1000"/>
                    </a:p>
                    <a:p>
                      <a:pPr marL="93663" indent="-93663">
                        <a:buFont typeface="Arial" panose="020B0604020202020204" pitchFamily="34" charset="0"/>
                        <a:buChar char="•"/>
                      </a:pPr>
                      <a:r>
                        <a:rPr lang="fr-FR" sz="1000"/>
                        <a:t>Responsable maintenance</a:t>
                      </a:r>
                    </a:p>
                    <a:p>
                      <a:pPr marL="93663" indent="-93663">
                        <a:buFont typeface="Arial" panose="020B0604020202020204" pitchFamily="34" charset="0"/>
                        <a:buChar char="•"/>
                      </a:pPr>
                      <a:endParaRPr lang="fr-FR" sz="1000"/>
                    </a:p>
                    <a:p>
                      <a:pPr marL="93663" indent="-93663">
                        <a:buFont typeface="Arial" panose="020B0604020202020204" pitchFamily="34" charset="0"/>
                        <a:buChar char="•"/>
                      </a:pPr>
                      <a:r>
                        <a:rPr lang="fr-FR" sz="1000"/>
                        <a:t>Responsable production</a:t>
                      </a:r>
                    </a:p>
                    <a:p>
                      <a:pPr marL="93663" indent="-93663">
                        <a:buFont typeface="Arial" panose="020B0604020202020204" pitchFamily="34" charset="0"/>
                        <a:buChar char="•"/>
                      </a:pPr>
                      <a:endParaRPr lang="fr-FR" sz="1000"/>
                    </a:p>
                    <a:p>
                      <a:pPr marL="93663" marR="0" lvl="0" indent="-936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000"/>
                        <a:t>Responsable production</a:t>
                      </a:r>
                    </a:p>
                    <a:p>
                      <a:pPr marL="93663" indent="-93663">
                        <a:buFont typeface="Arial" panose="020B0604020202020204" pitchFamily="34" charset="0"/>
                        <a:buChar char="•"/>
                      </a:pPr>
                      <a:endParaRPr lang="fr-FR" sz="100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9895437"/>
                  </a:ext>
                </a:extLst>
              </a:tr>
            </a:tbl>
          </a:graphicData>
        </a:graphic>
      </p:graphicFrame>
      <p:pic>
        <p:nvPicPr>
          <p:cNvPr id="11" name="Image 10">
            <a:extLst>
              <a:ext uri="{FF2B5EF4-FFF2-40B4-BE49-F238E27FC236}">
                <a16:creationId xmlns:a16="http://schemas.microsoft.com/office/drawing/2014/main" id="{62A08BB3-0ECB-4A6D-BE3A-76ADD0E7698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3" name="Espace réservé du pied de page 5">
            <a:extLst>
              <a:ext uri="{FF2B5EF4-FFF2-40B4-BE49-F238E27FC236}">
                <a16:creationId xmlns:a16="http://schemas.microsoft.com/office/drawing/2014/main" id="{6EF5E473-E07A-4ED0-B5AE-F1D93EEA8BB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</p:spTree>
    <p:extLst>
      <p:ext uri="{BB962C8B-B14F-4D97-AF65-F5344CB8AC3E}">
        <p14:creationId xmlns:p14="http://schemas.microsoft.com/office/powerpoint/2010/main" val="370936179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82" name="Diapositive think-cell" r:id="rId5" imgW="395" imgH="396" progId="TCLayout.ActiveDocument.1">
                  <p:embed/>
                </p:oleObj>
              </mc:Choice>
              <mc:Fallback>
                <p:oleObj name="Diapositive think-cell" r:id="rId5" imgW="395" imgH="396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2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0000" y="44625"/>
            <a:ext cx="8508750" cy="508532"/>
          </a:xfrm>
        </p:spPr>
        <p:txBody>
          <a:bodyPr/>
          <a:lstStyle/>
          <a:p>
            <a:r>
              <a:rPr lang="fr-FR"/>
              <a:t>Budget 2022 : Personnel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33</a:t>
            </a:fld>
            <a:endParaRPr lang="fr-FR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EEC547A5-29C3-4777-8AE9-575D6C0F3E15}"/>
              </a:ext>
            </a:extLst>
          </p:cNvPr>
          <p:cNvSpPr txBox="1"/>
          <p:nvPr/>
        </p:nvSpPr>
        <p:spPr>
          <a:xfrm>
            <a:off x="539550" y="3573289"/>
            <a:ext cx="8064502" cy="134504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fr-FR" sz="1400">
                <a:solidFill>
                  <a:schemeClr val="tx2"/>
                </a:solidFill>
              </a:rPr>
              <a:t>Budget effectif réalisé avec l’hypothèse d’un tonnage de 706 t vendues à UKAD basée sur un jalon de poursuite d’activité connu en T4 2021.</a:t>
            </a:r>
          </a:p>
          <a:p>
            <a:pPr algn="just">
              <a:lnSpc>
                <a:spcPct val="150000"/>
              </a:lnSpc>
            </a:pPr>
            <a:endParaRPr lang="fr-FR" sz="1400">
              <a:solidFill>
                <a:schemeClr val="tx2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fr-FR" sz="1400">
                <a:solidFill>
                  <a:schemeClr val="tx2"/>
                </a:solidFill>
              </a:rPr>
              <a:t>Tout retard dans l’annonce de la poursuite d’activité entrainera une perte de tonnage au final. </a:t>
            </a:r>
            <a:endParaRPr lang="fr-FR" sz="1400">
              <a:solidFill>
                <a:schemeClr val="tx2"/>
              </a:solidFill>
              <a:cs typeface="Arial"/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D6FDC368-7A31-4FE0-8D40-7896A2C59F3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477FCCB2-D3BB-4D85-8C5B-F4FA319D501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05524" y="1097280"/>
            <a:ext cx="4786681" cy="1697602"/>
          </a:xfrm>
          <a:prstGeom prst="rect">
            <a:avLst/>
          </a:prstGeom>
        </p:spPr>
      </p:pic>
      <p:sp>
        <p:nvSpPr>
          <p:cNvPr id="12" name="Espace réservé du pied de page 5">
            <a:extLst>
              <a:ext uri="{FF2B5EF4-FFF2-40B4-BE49-F238E27FC236}">
                <a16:creationId xmlns:a16="http://schemas.microsoft.com/office/drawing/2014/main" id="{AC01A41A-2A68-4F38-AEF6-3482D0645F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</p:spTree>
    <p:extLst>
      <p:ext uri="{BB962C8B-B14F-4D97-AF65-F5344CB8AC3E}">
        <p14:creationId xmlns:p14="http://schemas.microsoft.com/office/powerpoint/2010/main" val="285092182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06" name="Diapositive think-cell" r:id="rId5" imgW="395" imgH="396" progId="TCLayout.ActiveDocument.1">
                  <p:embed/>
                </p:oleObj>
              </mc:Choice>
              <mc:Fallback>
                <p:oleObj name="Diapositive think-cell" r:id="rId5" imgW="395" imgH="396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0000" y="44624"/>
            <a:ext cx="8508750" cy="531109"/>
          </a:xfrm>
        </p:spPr>
        <p:txBody>
          <a:bodyPr/>
          <a:lstStyle/>
          <a:p>
            <a:r>
              <a:rPr lang="fr-FR"/>
              <a:t>Budget 2022 : Capex 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34</a:t>
            </a:fld>
            <a:endParaRPr lang="fr-FR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FD524EFC-4AE0-4690-B551-DEFB6E03611C}"/>
              </a:ext>
            </a:extLst>
          </p:cNvPr>
          <p:cNvSpPr txBox="1"/>
          <p:nvPr/>
        </p:nvSpPr>
        <p:spPr>
          <a:xfrm>
            <a:off x="-840671" y="4324142"/>
            <a:ext cx="7488832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>
                <a:solidFill>
                  <a:srgbClr val="002060"/>
                </a:solidFill>
              </a:rPr>
              <a:t>Les CAPEX d’EcoTitanium sont de 1 M€ en 2022 (rappel : 1 M€ de réalisé en 2019).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fr-FR" sz="1200" b="1">
              <a:solidFill>
                <a:srgbClr val="002060"/>
              </a:solidFill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BFCF57A6-0090-4BC7-AE5E-B8E6CE71317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28B6DD10-466B-47B6-AB24-5955DC8AF5D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3043" y="874361"/>
            <a:ext cx="8298090" cy="3058550"/>
          </a:xfrm>
          <a:prstGeom prst="rect">
            <a:avLst/>
          </a:prstGeom>
        </p:spPr>
      </p:pic>
      <p:sp>
        <p:nvSpPr>
          <p:cNvPr id="12" name="Espace réservé du pied de page 5">
            <a:extLst>
              <a:ext uri="{FF2B5EF4-FFF2-40B4-BE49-F238E27FC236}">
                <a16:creationId xmlns:a16="http://schemas.microsoft.com/office/drawing/2014/main" id="{8BAA6002-F115-4192-B8D5-7EDF221ECF7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</p:spTree>
    <p:extLst>
      <p:ext uri="{BB962C8B-B14F-4D97-AF65-F5344CB8AC3E}">
        <p14:creationId xmlns:p14="http://schemas.microsoft.com/office/powerpoint/2010/main" val="33663131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30" name="Diapositive think-cell" r:id="rId5" imgW="395" imgH="396" progId="TCLayout.ActiveDocument.1">
                  <p:embed/>
                </p:oleObj>
              </mc:Choice>
              <mc:Fallback>
                <p:oleObj name="Diapositive think-cell" r:id="rId5" imgW="395" imgH="396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0000" y="44625"/>
            <a:ext cx="8508750" cy="508532"/>
          </a:xfrm>
        </p:spPr>
        <p:txBody>
          <a:bodyPr/>
          <a:lstStyle/>
          <a:p>
            <a:r>
              <a:rPr lang="fr-FR"/>
              <a:t>Budget 2022 : Le détail des CAPEX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35</a:t>
            </a:fld>
            <a:endParaRPr lang="fr-FR"/>
          </a:p>
        </p:txBody>
      </p:sp>
      <p:sp>
        <p:nvSpPr>
          <p:cNvPr id="10" name="Espace réservé du contenu 2"/>
          <p:cNvSpPr>
            <a:spLocks noGrp="1"/>
          </p:cNvSpPr>
          <p:nvPr>
            <p:ph idx="1"/>
          </p:nvPr>
        </p:nvSpPr>
        <p:spPr>
          <a:xfrm>
            <a:off x="539550" y="6074171"/>
            <a:ext cx="8064000" cy="323546"/>
          </a:xfrm>
          <a:ln>
            <a:noFill/>
          </a:ln>
        </p:spPr>
        <p:txBody>
          <a:bodyPr/>
          <a:lstStyle/>
          <a:p>
            <a:pPr marL="0" lvl="2" indent="0">
              <a:buNone/>
            </a:pPr>
            <a:r>
              <a:rPr lang="fr-FR" sz="1050"/>
              <a:t>Priorisation donnée à la sécurité et à la fiabilisation des équipements.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710974AD-633B-4172-B8C5-072764D45BA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FD96F1DD-8289-4F1E-8E53-6DCF1D7E1C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97280" y="966787"/>
            <a:ext cx="6689407" cy="4924425"/>
          </a:xfrm>
          <a:prstGeom prst="rect">
            <a:avLst/>
          </a:prstGeom>
        </p:spPr>
      </p:pic>
      <p:sp>
        <p:nvSpPr>
          <p:cNvPr id="12" name="Espace réservé du pied de page 5">
            <a:extLst>
              <a:ext uri="{FF2B5EF4-FFF2-40B4-BE49-F238E27FC236}">
                <a16:creationId xmlns:a16="http://schemas.microsoft.com/office/drawing/2014/main" id="{74D289F9-2D66-4B9B-AEDC-36120AB601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</p:spTree>
    <p:extLst>
      <p:ext uri="{BB962C8B-B14F-4D97-AF65-F5344CB8AC3E}">
        <p14:creationId xmlns:p14="http://schemas.microsoft.com/office/powerpoint/2010/main" val="163401997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54" name="Diapositive think-cell" r:id="rId5" imgW="395" imgH="396" progId="TCLayout.ActiveDocument.1">
                  <p:embed/>
                </p:oleObj>
              </mc:Choice>
              <mc:Fallback>
                <p:oleObj name="Diapositive think-cell" r:id="rId5" imgW="395" imgH="396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0000" y="44625"/>
            <a:ext cx="8508750" cy="519820"/>
          </a:xfrm>
        </p:spPr>
        <p:txBody>
          <a:bodyPr/>
          <a:lstStyle/>
          <a:p>
            <a:r>
              <a:rPr lang="fr-FR"/>
              <a:t>Budget 2022 : CASH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36</a:t>
            </a:fld>
            <a:endParaRPr lang="fr-FR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B2EC3CBC-6CCC-43EA-98D0-183472F276E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id="{DF0B4949-ECB3-4282-BD19-180F8D9200FA}"/>
              </a:ext>
            </a:extLst>
          </p:cNvPr>
          <p:cNvSpPr txBox="1">
            <a:spLocks/>
          </p:cNvSpPr>
          <p:nvPr/>
        </p:nvSpPr>
        <p:spPr bwMode="gray">
          <a:xfrm>
            <a:off x="5634911" y="2392578"/>
            <a:ext cx="2907585" cy="3574473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8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buNone/>
            </a:pPr>
            <a:r>
              <a:rPr lang="fr-FR" b="0"/>
              <a:t>La solution de financement externe encours d’analyse : 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fr-FR" b="0"/>
              <a:t>Portage de stocks via </a:t>
            </a:r>
            <a:r>
              <a:rPr lang="fr-FR" b="0" err="1"/>
              <a:t>Aérotrade</a:t>
            </a:r>
            <a:endParaRPr lang="fr-FR" b="0"/>
          </a:p>
          <a:p>
            <a:pPr lvl="2">
              <a:buFont typeface="Wingdings" panose="05000000000000000000" pitchFamily="2" charset="2"/>
              <a:buChar char="Ø"/>
            </a:pPr>
            <a:r>
              <a:rPr lang="fr-FR" b="0"/>
              <a:t>Potentiel estimé entre 1,5m€ et 2m€.</a:t>
            </a:r>
          </a:p>
          <a:p>
            <a:pPr lvl="2"/>
            <a:endParaRPr lang="fr-FR" b="0"/>
          </a:p>
          <a:p>
            <a:pPr marL="0" lvl="2" indent="0">
              <a:buNone/>
            </a:pPr>
            <a:r>
              <a:rPr lang="fr-FR" b="0"/>
              <a:t>La continuité d’exploitation nécessitera un apport complémentaire du groupe début 2022.</a:t>
            </a:r>
          </a:p>
          <a:p>
            <a:pPr lvl="2"/>
            <a:endParaRPr lang="fr-FR" b="0"/>
          </a:p>
          <a:p>
            <a:pPr lvl="2"/>
            <a:endParaRPr lang="fr-FR" b="0"/>
          </a:p>
          <a:p>
            <a:pPr marL="0" lvl="2" indent="0">
              <a:buFontTx/>
              <a:buNone/>
            </a:pPr>
            <a:endParaRPr lang="fr-FR"/>
          </a:p>
        </p:txBody>
      </p:sp>
      <p:sp>
        <p:nvSpPr>
          <p:cNvPr id="12" name="Espace réservé du pied de page 5">
            <a:extLst>
              <a:ext uri="{FF2B5EF4-FFF2-40B4-BE49-F238E27FC236}">
                <a16:creationId xmlns:a16="http://schemas.microsoft.com/office/drawing/2014/main" id="{4D5B211E-18F6-4F4D-8AD7-B7D36CEE57B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56F1B0FE-14CA-48FF-9524-55139AD392D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9550" y="1120346"/>
            <a:ext cx="4289258" cy="4617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70870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578" name="Diapositive think-cell" r:id="rId5" imgW="395" imgH="396" progId="TCLayout.ActiveDocument.1">
                  <p:embed/>
                </p:oleObj>
              </mc:Choice>
              <mc:Fallback>
                <p:oleObj name="Diapositive think-cell" r:id="rId5" imgW="395" imgH="396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2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37</a:t>
            </a:fld>
            <a:endParaRPr lang="fr-FR"/>
          </a:p>
        </p:txBody>
      </p:sp>
      <p:sp>
        <p:nvSpPr>
          <p:cNvPr id="10" name="Titre 1"/>
          <p:cNvSpPr txBox="1">
            <a:spLocks/>
          </p:cNvSpPr>
          <p:nvPr/>
        </p:nvSpPr>
        <p:spPr bwMode="gray">
          <a:xfrm>
            <a:off x="540000" y="126229"/>
            <a:ext cx="8508750" cy="47227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2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/>
              <a:t>Budget 2022 : KPIs financiers</a:t>
            </a:r>
            <a:br>
              <a:rPr lang="fr-FR"/>
            </a:br>
            <a:r>
              <a:rPr lang="fr-FR"/>
              <a:t>(données chiffrées &amp; principaux commentaires)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C727F850-EDF5-47F0-80CF-D5C393821C2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9332C07B-7D45-4C27-91B6-5033BCBD816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75656" y="1081130"/>
            <a:ext cx="6192688" cy="5331894"/>
          </a:xfrm>
          <a:prstGeom prst="rect">
            <a:avLst/>
          </a:prstGeom>
        </p:spPr>
      </p:pic>
      <p:sp>
        <p:nvSpPr>
          <p:cNvPr id="11" name="Espace réservé du pied de page 5">
            <a:extLst>
              <a:ext uri="{FF2B5EF4-FFF2-40B4-BE49-F238E27FC236}">
                <a16:creationId xmlns:a16="http://schemas.microsoft.com/office/drawing/2014/main" id="{851B0230-FFF4-44C3-B454-3C114BC72F9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</p:spTree>
    <p:extLst>
      <p:ext uri="{BB962C8B-B14F-4D97-AF65-F5344CB8AC3E}">
        <p14:creationId xmlns:p14="http://schemas.microsoft.com/office/powerpoint/2010/main" val="74384018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2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05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24" name="Espace réservé du texte 23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fr-FR"/>
              <a:t>Focus AEROTRADE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4294967295"/>
          </p:nvPr>
        </p:nvSpPr>
        <p:spPr bwMode="gray">
          <a:xfrm>
            <a:off x="0" y="-11113"/>
            <a:ext cx="3576638" cy="1735138"/>
          </a:xfrm>
        </p:spPr>
        <p:txBody>
          <a:bodyPr/>
          <a:lstStyle/>
          <a:p>
            <a:r>
              <a:rPr lang="fr-FR"/>
              <a:t> 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10012026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91447223-6B10-4611-BA9D-BD865ACB0E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626" name="Diapositive think-cell" r:id="rId5" imgW="395" imgH="394" progId="TCLayout.ActiveDocument.1">
                  <p:embed/>
                </p:oleObj>
              </mc:Choice>
              <mc:Fallback>
                <p:oleObj name="Diapositive think-cell" r:id="rId5" imgW="395" imgH="394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91447223-6B10-4611-BA9D-BD865ACB0E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75C3DB1-036A-4B43-8701-921DFCC020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16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0000" y="0"/>
            <a:ext cx="8064000" cy="569843"/>
          </a:xfrm>
        </p:spPr>
        <p:txBody>
          <a:bodyPr/>
          <a:lstStyle/>
          <a:p>
            <a:pPr lvl="2" defTabSz="914400">
              <a:spcBef>
                <a:spcPts val="400"/>
              </a:spcBef>
              <a:buSzPct val="100000"/>
            </a:pPr>
            <a:r>
              <a:rPr lang="fr-FR" sz="2200" b="1">
                <a:solidFill>
                  <a:srgbClr val="1A003B"/>
                </a:solidFill>
                <a:latin typeface="Arial"/>
              </a:rPr>
              <a:t>Focus AEROTRAD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39</a:t>
            </a:fld>
            <a:endParaRPr lang="fr-FR">
              <a:solidFill>
                <a:srgbClr val="FA6414"/>
              </a:solidFill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7B2A8FAA-10F8-4918-A5BC-8F9202C9D5D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3" name="Espace réservé du pied de page 5">
            <a:extLst>
              <a:ext uri="{FF2B5EF4-FFF2-40B4-BE49-F238E27FC236}">
                <a16:creationId xmlns:a16="http://schemas.microsoft.com/office/drawing/2014/main" id="{C0C2951D-DD91-4A01-B014-84FDDEFF302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1E0B2E8-501E-48E5-B21D-4FDAB0BE253E}"/>
              </a:ext>
            </a:extLst>
          </p:cNvPr>
          <p:cNvSpPr txBox="1"/>
          <p:nvPr/>
        </p:nvSpPr>
        <p:spPr>
          <a:xfrm>
            <a:off x="737616" y="838965"/>
            <a:ext cx="7882128" cy="477053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marR="0" lvl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sz="16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onvention définitive EcoTitanium/ Aerotrade signée en janvier 2022.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16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71450" marR="0" lvl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sz="160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erotrade</a:t>
            </a:r>
            <a:r>
              <a:rPr lang="fr-FR" sz="16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a obtenu l’accord formel des banques impliquées dans le montage du PGE pour augmenter ses lignes de crédit que tout début février.</a:t>
            </a:r>
            <a:endParaRPr lang="en-US" sz="16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00050" marR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28600" marR="0">
              <a:spcBef>
                <a:spcPts val="0"/>
              </a:spcBef>
              <a:spcAft>
                <a:spcPts val="0"/>
              </a:spcAft>
            </a:pPr>
            <a:endParaRPr lang="en-US" sz="16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71450" marR="0" lvl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sz="16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Les montants alloués par  </a:t>
            </a:r>
            <a:r>
              <a:rPr lang="fr-FR" sz="160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erotrade</a:t>
            </a:r>
            <a:r>
              <a:rPr lang="fr-FR" sz="16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ont été confirmés et sont utilisables depuis mi-février. </a:t>
            </a:r>
            <a:endParaRPr lang="en-US" sz="16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sz="1600">
                <a:effectLst/>
                <a:latin typeface="Calibri"/>
                <a:ea typeface="Times New Roman" panose="02020603050405020304" pitchFamily="18" charset="0"/>
                <a:cs typeface="Calibri"/>
              </a:rPr>
              <a:t>850 k€ HT, soit 1020 k€/</a:t>
            </a:r>
            <a:r>
              <a:rPr lang="fr-FR" sz="1600" err="1">
                <a:effectLst/>
                <a:latin typeface="Calibri"/>
                <a:ea typeface="Times New Roman" panose="02020603050405020304" pitchFamily="18" charset="0"/>
                <a:cs typeface="Calibri"/>
              </a:rPr>
              <a:t>TTc</a:t>
            </a:r>
            <a:r>
              <a:rPr lang="fr-FR" sz="1600">
                <a:effectLst/>
                <a:latin typeface="Calibri"/>
                <a:ea typeface="Times New Roman" panose="02020603050405020304" pitchFamily="18" charset="0"/>
                <a:cs typeface="Calibri"/>
              </a:rPr>
              <a:t> par mois, passant à 950 k€ HT à partir de Novembre 2022</a:t>
            </a:r>
            <a:r>
              <a:rPr lang="fr-FR" sz="1600">
                <a:latin typeface="Calibri"/>
                <a:ea typeface="Times New Roman" panose="02020603050405020304" pitchFamily="18" charset="0"/>
                <a:cs typeface="Calibri"/>
              </a:rPr>
              <a:t> </a:t>
            </a:r>
            <a:endParaRPr lang="en-US" sz="16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628650" marR="0" lvl="1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sz="16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Le besoin estimé par la </a:t>
            </a:r>
            <a:r>
              <a:rPr lang="fr-FR" sz="160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upply</a:t>
            </a:r>
            <a:r>
              <a:rPr lang="fr-FR" sz="16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Chain EcoTitanium pour réaliser le budget est inférieur à ce potentiel : 350 à 500 k€ HT par mois.</a:t>
            </a:r>
            <a:endParaRPr lang="en-US" sz="16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085850" marR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fr-FR" sz="160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085850" marR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71450" marR="0" lvl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sz="16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La mise en œuvre pratique butte sur un problème Système d’Information  non identifié dans l’étude préalable</a:t>
            </a:r>
            <a:endParaRPr lang="en-US" sz="16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628650" marR="0" lvl="1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sz="1600">
                <a:effectLst/>
                <a:latin typeface="Calibri"/>
                <a:ea typeface="Times New Roman" panose="02020603050405020304" pitchFamily="18" charset="0"/>
                <a:cs typeface="Calibri"/>
              </a:rPr>
              <a:t>La gestion des puces RFID (traçabilité des lots) est </a:t>
            </a:r>
            <a:r>
              <a:rPr lang="fr-FR" sz="1600">
                <a:latin typeface="Calibri"/>
                <a:ea typeface="Times New Roman" panose="02020603050405020304" pitchFamily="18" charset="0"/>
                <a:cs typeface="Calibri"/>
              </a:rPr>
              <a:t>intégrée</a:t>
            </a:r>
            <a:r>
              <a:rPr lang="fr-FR" sz="1600">
                <a:effectLst/>
                <a:latin typeface="Calibri"/>
                <a:ea typeface="Times New Roman" panose="02020603050405020304" pitchFamily="18" charset="0"/>
                <a:cs typeface="Calibri"/>
              </a:rPr>
              <a:t> dans SAP et ne permet pas une mise à la vente des lots</a:t>
            </a:r>
            <a:endParaRPr lang="en-US" sz="1600">
              <a:effectLst/>
              <a:latin typeface="Times New Roman"/>
              <a:ea typeface="Calibri" panose="020F0502020204030204" pitchFamily="34" charset="0"/>
              <a:cs typeface="Calibri"/>
            </a:endParaRPr>
          </a:p>
          <a:p>
            <a:pPr marL="628650" marR="0" lvl="1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sz="16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Une demande de modification/adaptation du système a été formulée  auprès du service Informatique, le sujet est en cours d’instruction.</a:t>
            </a:r>
            <a:endParaRPr lang="en-US" sz="16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77145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0000" y="0"/>
            <a:ext cx="8064000" cy="567359"/>
          </a:xfrm>
        </p:spPr>
        <p:txBody>
          <a:bodyPr/>
          <a:lstStyle/>
          <a:p>
            <a:r>
              <a:rPr lang="fr-FR"/>
              <a:t>01- Point industriel - 2022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dirty="0" smtClean="0">
                <a:solidFill>
                  <a:srgbClr val="FA6414"/>
                </a:solidFill>
              </a:rPr>
              <a:pPr/>
              <a:t>4</a:t>
            </a:fld>
            <a:endParaRPr lang="fr-FR">
              <a:solidFill>
                <a:srgbClr val="FA6414"/>
              </a:solidFill>
            </a:endParaRP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8" name="Espace réservé du contenu 10"/>
          <p:cNvSpPr txBox="1">
            <a:spLocks/>
          </p:cNvSpPr>
          <p:nvPr/>
        </p:nvSpPr>
        <p:spPr bwMode="gray">
          <a:xfrm>
            <a:off x="503547" y="701900"/>
            <a:ext cx="8136903" cy="56138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just"/>
            <a:r>
              <a:rPr lang="fr-FR">
                <a:solidFill>
                  <a:srgbClr val="1A003B"/>
                </a:solidFill>
                <a:sym typeface="Wingdings" panose="05000000000000000000" pitchFamily="2" charset="2"/>
              </a:rPr>
              <a:t> </a:t>
            </a:r>
          </a:p>
          <a:p>
            <a:pPr marL="555750" lvl="3" indent="-285750" algn="just">
              <a:buFont typeface="Arial" panose="020B0604020202020204" pitchFamily="34" charset="0"/>
              <a:buChar char="•"/>
            </a:pPr>
            <a:endParaRPr lang="fr-FR">
              <a:solidFill>
                <a:srgbClr val="1A003B"/>
              </a:solidFill>
              <a:sym typeface="Wingdings" panose="05000000000000000000" pitchFamily="2" charset="2"/>
            </a:endParaRPr>
          </a:p>
          <a:p>
            <a:pPr marL="555750" lvl="3" indent="-285750" algn="just">
              <a:buFont typeface="Arial" panose="020B0604020202020204" pitchFamily="34" charset="0"/>
              <a:buChar char="•"/>
            </a:pPr>
            <a:endParaRPr lang="fr-FR">
              <a:solidFill>
                <a:srgbClr val="1A003B"/>
              </a:solidFill>
              <a:sym typeface="Wingdings" panose="05000000000000000000" pitchFamily="2" charset="2"/>
            </a:endParaRPr>
          </a:p>
          <a:p>
            <a:pPr marL="555750" lvl="3" indent="-285750" algn="just">
              <a:buFont typeface="Arial" panose="020B0604020202020204" pitchFamily="34" charset="0"/>
              <a:buChar char="•"/>
            </a:pPr>
            <a:endParaRPr lang="fr-FR">
              <a:solidFill>
                <a:srgbClr val="1A003B"/>
              </a:solidFill>
              <a:sym typeface="Wingdings" panose="05000000000000000000" pitchFamily="2" charset="2"/>
            </a:endParaRPr>
          </a:p>
          <a:p>
            <a:pPr marL="555750" lvl="3" indent="-285750" algn="just">
              <a:buFont typeface="Arial" panose="020B0604020202020204" pitchFamily="34" charset="0"/>
              <a:buChar char="•"/>
            </a:pPr>
            <a:endParaRPr lang="fr-FR">
              <a:solidFill>
                <a:srgbClr val="1A003B"/>
              </a:solidFill>
              <a:sym typeface="Wingdings" panose="05000000000000000000" pitchFamily="2" charset="2"/>
            </a:endParaRPr>
          </a:p>
          <a:p>
            <a:pPr marL="555750" lvl="3" indent="-285750" algn="just">
              <a:buFont typeface="Arial" panose="020B0604020202020204" pitchFamily="34" charset="0"/>
              <a:buChar char="•"/>
            </a:pPr>
            <a:endParaRPr lang="fr-FR">
              <a:solidFill>
                <a:srgbClr val="1A003B"/>
              </a:solidFill>
              <a:sym typeface="Wingdings" panose="05000000000000000000" pitchFamily="2" charset="2"/>
            </a:endParaRPr>
          </a:p>
        </p:txBody>
      </p:sp>
      <p:sp>
        <p:nvSpPr>
          <p:cNvPr id="9" name="Espace réservé du contenu 10">
            <a:extLst>
              <a:ext uri="{FF2B5EF4-FFF2-40B4-BE49-F238E27FC236}">
                <a16:creationId xmlns:a16="http://schemas.microsoft.com/office/drawing/2014/main" id="{B7B28192-BF88-4792-B0EF-90427B4CBF55}"/>
              </a:ext>
            </a:extLst>
          </p:cNvPr>
          <p:cNvSpPr txBox="1">
            <a:spLocks/>
          </p:cNvSpPr>
          <p:nvPr/>
        </p:nvSpPr>
        <p:spPr bwMode="gray">
          <a:xfrm>
            <a:off x="162488" y="774419"/>
            <a:ext cx="8286568" cy="56138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 algn="just"/>
            <a:r>
              <a:rPr lang="fr-FR" sz="1600">
                <a:solidFill>
                  <a:srgbClr val="1A003B"/>
                </a:solidFill>
                <a:sym typeface="Wingdings" panose="05000000000000000000" pitchFamily="2" charset="2"/>
              </a:rPr>
              <a:t>Sécurité</a:t>
            </a:r>
          </a:p>
          <a:p>
            <a:pPr marL="1004888" lvl="4" indent="-285750" algn="just"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  <a:sym typeface="Wingdings" panose="05000000000000000000" pitchFamily="2" charset="2"/>
              </a:rPr>
              <a:t>TF1 = 0 depuis plus de 2 ans,</a:t>
            </a:r>
          </a:p>
          <a:p>
            <a:pPr marL="1004888" lvl="4" indent="-285750" algn="just">
              <a:buFont typeface="Arial" panose="020B0604020202020204" pitchFamily="34" charset="0"/>
              <a:buChar char="•"/>
            </a:pPr>
            <a:r>
              <a:rPr lang="fr-FR">
                <a:solidFill>
                  <a:srgbClr val="DB001A"/>
                </a:solidFill>
                <a:sym typeface="Wingdings" panose="05000000000000000000" pitchFamily="2" charset="2"/>
              </a:rPr>
              <a:t>TF2 = 17.6 1 ASA</a:t>
            </a:r>
          </a:p>
          <a:p>
            <a:pPr marL="1004888" lvl="4" indent="-285750" algn="just">
              <a:buFont typeface="Arial" panose="020B0604020202020204" pitchFamily="34" charset="0"/>
              <a:buChar char="•"/>
            </a:pPr>
            <a:endParaRPr lang="fr-FR">
              <a:solidFill>
                <a:srgbClr val="DB001A"/>
              </a:solidFill>
              <a:sym typeface="Wingdings" panose="05000000000000000000" pitchFamily="2" charset="2"/>
            </a:endParaRPr>
          </a:p>
          <a:p>
            <a:pPr marL="555750" lvl="3" indent="-285750" algn="just"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  <a:sym typeface="Wingdings" panose="05000000000000000000" pitchFamily="2" charset="2"/>
              </a:rPr>
              <a:t>Renouvèlement certification EN9100.</a:t>
            </a:r>
          </a:p>
          <a:p>
            <a:pPr marL="555750" lvl="3" indent="-285750" algn="just">
              <a:buFont typeface="Arial" panose="020B0604020202020204" pitchFamily="34" charset="0"/>
              <a:buChar char="•"/>
            </a:pPr>
            <a:endParaRPr lang="fr-FR">
              <a:solidFill>
                <a:srgbClr val="1A003B"/>
              </a:solidFill>
              <a:sym typeface="Wingdings" panose="05000000000000000000" pitchFamily="2" charset="2"/>
            </a:endParaRPr>
          </a:p>
          <a:p>
            <a:pPr marL="555750" lvl="3" indent="-285750" algn="just"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  <a:sym typeface="Wingdings" panose="05000000000000000000" pitchFamily="2" charset="2"/>
              </a:rPr>
              <a:t>Amélioration de la fiabilité de notre four plasma : </a:t>
            </a:r>
          </a:p>
          <a:p>
            <a:pPr marL="1004888" lvl="4" indent="-285750" algn="just"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  <a:sym typeface="Wingdings" panose="05000000000000000000" pitchFamily="2" charset="2"/>
              </a:rPr>
              <a:t>plusieurs campagnes à 4 ou 5 électrodes en continue,</a:t>
            </a:r>
          </a:p>
          <a:p>
            <a:pPr lvl="4" indent="0" algn="just">
              <a:buNone/>
            </a:pPr>
            <a:endParaRPr lang="fr-FR">
              <a:solidFill>
                <a:srgbClr val="1A003B"/>
              </a:solidFill>
              <a:sym typeface="Wingdings" panose="05000000000000000000" pitchFamily="2" charset="2"/>
            </a:endParaRPr>
          </a:p>
          <a:p>
            <a:pPr marL="555750" lvl="3" indent="-285750" algn="just"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  <a:sym typeface="Wingdings" panose="05000000000000000000" pitchFamily="2" charset="2"/>
              </a:rPr>
              <a:t>Amélioration de la fiabilité de notre installation de préparation de charge, suite actions d’amélioration sur notre solveur, et interface avec MES, sur les charges copeaux et massifs</a:t>
            </a:r>
          </a:p>
          <a:p>
            <a:pPr marL="555750" lvl="3" indent="-285750" algn="just">
              <a:buFont typeface="Arial" panose="020B0604020202020204" pitchFamily="34" charset="0"/>
              <a:buChar char="•"/>
            </a:pPr>
            <a:endParaRPr lang="fr-FR">
              <a:solidFill>
                <a:srgbClr val="1A003B"/>
              </a:solidFill>
              <a:sym typeface="Wingdings" panose="05000000000000000000" pitchFamily="2" charset="2"/>
            </a:endParaRPr>
          </a:p>
          <a:p>
            <a:pPr marL="555750" lvl="3" indent="-285750" algn="just"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Notre prochain objectif est de passer à une capacité de 12 lingots par mois, puis 20 lingots par mois, après adaptation de notre main d’œuvre pour être capable de fonctionner en parallèle sur les différentes installations</a:t>
            </a:r>
          </a:p>
          <a:p>
            <a:pPr marL="555750" lvl="3" indent="-285750" algn="just">
              <a:buFont typeface="Arial" panose="020B0604020202020204" pitchFamily="34" charset="0"/>
              <a:buChar char="•"/>
            </a:pPr>
            <a:endParaRPr lang="fr-FR">
              <a:solidFill>
                <a:srgbClr val="1A003B"/>
              </a:solidFill>
              <a:sym typeface="Wingdings" panose="05000000000000000000" pitchFamily="2" charset="2"/>
            </a:endParaRPr>
          </a:p>
          <a:p>
            <a:pPr lvl="2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De nouveaux contrats matière première doivent maintenant être mis en place:</a:t>
            </a:r>
          </a:p>
          <a:p>
            <a:pPr marL="555750" lvl="3" indent="-285750" algn="just"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Contrats avec processeurs, copeaux et massif, garantissant réservation de capacité, délais et prix.</a:t>
            </a:r>
          </a:p>
          <a:p>
            <a:pPr marL="555750" lvl="3" indent="-285750" algn="just"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Contrat pour nos livraisons d’éponges, basé sur notre </a:t>
            </a:r>
            <a:r>
              <a:rPr lang="fr-FR" err="1">
                <a:solidFill>
                  <a:srgbClr val="1A003B"/>
                </a:solidFill>
              </a:rPr>
              <a:t>forecast</a:t>
            </a:r>
            <a:r>
              <a:rPr lang="fr-FR">
                <a:solidFill>
                  <a:srgbClr val="1A003B"/>
                </a:solidFill>
              </a:rPr>
              <a:t> 2022</a:t>
            </a:r>
          </a:p>
          <a:p>
            <a:pPr marL="1004888" lvl="4" indent="-285750" algn="just"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Diversification de nos sources d’éponge : Essais et lancements de qualification en cours</a:t>
            </a:r>
          </a:p>
          <a:p>
            <a:pPr lvl="3" algn="just"/>
            <a:endParaRPr lang="fr-FR">
              <a:solidFill>
                <a:srgbClr val="1A003B"/>
              </a:solidFill>
            </a:endParaRPr>
          </a:p>
          <a:p>
            <a:pPr marL="555750" lvl="3" indent="-285750" algn="just"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Pour les volumes du budget 2022, notre capacité d’approvisionnement en </a:t>
            </a:r>
            <a:r>
              <a:rPr lang="fr-FR" err="1">
                <a:solidFill>
                  <a:srgbClr val="1A003B"/>
                </a:solidFill>
              </a:rPr>
              <a:t>Reverts</a:t>
            </a:r>
            <a:r>
              <a:rPr lang="fr-FR">
                <a:solidFill>
                  <a:srgbClr val="1A003B"/>
                </a:solidFill>
              </a:rPr>
              <a:t> internes ne sera pas suffisant, et cet approvisionnement devra être complété par le marché.  Contrats à prévoir avec nos fournisseurs.</a:t>
            </a:r>
          </a:p>
          <a:p>
            <a:pPr marL="555750" lvl="3" indent="-285750" algn="just">
              <a:buFont typeface="Arial" panose="020B0604020202020204" pitchFamily="34" charset="0"/>
              <a:buChar char="•"/>
            </a:pPr>
            <a:endParaRPr lang="fr-FR">
              <a:solidFill>
                <a:srgbClr val="1A003B"/>
              </a:solidFill>
              <a:sym typeface="Wingdings" panose="05000000000000000000" pitchFamily="2" charset="2"/>
            </a:endParaRPr>
          </a:p>
          <a:p>
            <a:pPr lvl="3" algn="just"/>
            <a:endParaRPr lang="fr-FR">
              <a:solidFill>
                <a:srgbClr val="1A003B"/>
              </a:solidFill>
              <a:sym typeface="Wingdings" panose="05000000000000000000" pitchFamily="2" charset="2"/>
            </a:endParaRPr>
          </a:p>
          <a:p>
            <a:pPr marL="555750" lvl="3" indent="-285750" algn="just">
              <a:buFont typeface="Arial" panose="020B0604020202020204" pitchFamily="34" charset="0"/>
              <a:buChar char="•"/>
            </a:pPr>
            <a:endParaRPr lang="fr-FR">
              <a:solidFill>
                <a:srgbClr val="1A003B"/>
              </a:solidFill>
              <a:sym typeface="Wingdings" panose="05000000000000000000" pitchFamily="2" charset="2"/>
            </a:endParaRPr>
          </a:p>
          <a:p>
            <a:pPr lvl="3" algn="just"/>
            <a:endParaRPr lang="fr-FR">
              <a:solidFill>
                <a:srgbClr val="1A003B"/>
              </a:solidFill>
              <a:sym typeface="Wingdings" panose="05000000000000000000" pitchFamily="2" charset="2"/>
            </a:endParaRPr>
          </a:p>
        </p:txBody>
      </p:sp>
      <p:sp>
        <p:nvSpPr>
          <p:cNvPr id="12" name="Espace réservé du pied de page 5">
            <a:extLst>
              <a:ext uri="{FF2B5EF4-FFF2-40B4-BE49-F238E27FC236}">
                <a16:creationId xmlns:a16="http://schemas.microsoft.com/office/drawing/2014/main" id="{57423700-7F38-4725-B74F-F3686AC1370C}"/>
              </a:ext>
            </a:extLst>
          </p:cNvPr>
          <p:cNvSpPr txBox="1">
            <a:spLocks/>
          </p:cNvSpPr>
          <p:nvPr/>
        </p:nvSpPr>
        <p:spPr bwMode="gray">
          <a:xfrm>
            <a:off x="923048" y="6156106"/>
            <a:ext cx="342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ctr" defTabSz="457200" rtl="0" eaLnBrk="1" latinLnBrk="0" hangingPunct="1">
              <a:lnSpc>
                <a:spcPct val="90000"/>
              </a:lnSpc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9B99E9B7-55EF-4072-B0D9-D795F20B73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75881" y="511740"/>
            <a:ext cx="3514551" cy="2164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93534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2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0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24" name="Espace réservé du texte 23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fr-FR"/>
              <a:t>Questions diverses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4294967295"/>
          </p:nvPr>
        </p:nvSpPr>
        <p:spPr bwMode="gray">
          <a:xfrm>
            <a:off x="0" y="-11113"/>
            <a:ext cx="3576638" cy="1735138"/>
          </a:xfrm>
        </p:spPr>
        <p:txBody>
          <a:bodyPr/>
          <a:lstStyle/>
          <a:p>
            <a:r>
              <a:rPr lang="fr-FR"/>
              <a:t> 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03735216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2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07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24" name="Espace réservé du texte 23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fr-FR"/>
              <a:t>Annexes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4294967295"/>
          </p:nvPr>
        </p:nvSpPr>
        <p:spPr bwMode="gray">
          <a:xfrm>
            <a:off x="0" y="-11113"/>
            <a:ext cx="3576638" cy="1735138"/>
          </a:xfrm>
        </p:spPr>
        <p:txBody>
          <a:bodyPr/>
          <a:lstStyle/>
          <a:p>
            <a:r>
              <a:rPr lang="fr-FR"/>
              <a:t> 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94944727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0000" y="0"/>
            <a:ext cx="8064000" cy="567359"/>
          </a:xfrm>
        </p:spPr>
        <p:txBody>
          <a:bodyPr/>
          <a:lstStyle/>
          <a:p>
            <a:r>
              <a:rPr lang="fr-FR"/>
              <a:t>07- Investissements listés à dat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42</a:t>
            </a:fld>
            <a:endParaRPr lang="fr-FR">
              <a:solidFill>
                <a:srgbClr val="FA6414"/>
              </a:solidFill>
            </a:endParaRPr>
          </a:p>
        </p:txBody>
      </p:sp>
      <p:sp>
        <p:nvSpPr>
          <p:cNvPr id="10" name="Espace réservé du pied de page 5"/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8" name="Espace réservé du contenu 10"/>
          <p:cNvSpPr txBox="1">
            <a:spLocks/>
          </p:cNvSpPr>
          <p:nvPr/>
        </p:nvSpPr>
        <p:spPr bwMode="gray">
          <a:xfrm>
            <a:off x="503548" y="637525"/>
            <a:ext cx="8459699" cy="58678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just"/>
            <a:endParaRPr lang="fr-FR">
              <a:sym typeface="Wingdings" panose="05000000000000000000" pitchFamily="2" charset="2"/>
            </a:endParaRPr>
          </a:p>
        </p:txBody>
      </p:sp>
      <p:sp>
        <p:nvSpPr>
          <p:cNvPr id="15" name="Espace réservé du contenu 1">
            <a:extLst>
              <a:ext uri="{FF2B5EF4-FFF2-40B4-BE49-F238E27FC236}">
                <a16:creationId xmlns:a16="http://schemas.microsoft.com/office/drawing/2014/main" id="{E6382F22-0C09-4CF8-9ADC-380D73B49E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998999"/>
            <a:ext cx="8570384" cy="5193683"/>
          </a:xfrm>
        </p:spPr>
        <p:txBody>
          <a:bodyPr/>
          <a:lstStyle/>
          <a:p>
            <a:pPr marL="269875" lvl="2" indent="-269875" algn="just"/>
            <a:r>
              <a:rPr lang="fr-FR" b="0">
                <a:solidFill>
                  <a:srgbClr val="1A003B"/>
                </a:solidFill>
                <a:cs typeface="Arial"/>
              </a:rPr>
              <a:t>Montant total : 1039 k€</a:t>
            </a:r>
          </a:p>
          <a:p>
            <a:endParaRPr lang="fr-FR" sz="1500"/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DD2FF621-63DD-4BE0-A7C2-5DEC4385BC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7338011"/>
              </p:ext>
            </p:extLst>
          </p:nvPr>
        </p:nvGraphicFramePr>
        <p:xfrm>
          <a:off x="539550" y="1286691"/>
          <a:ext cx="7633408" cy="5021137"/>
        </p:xfrm>
        <a:graphic>
          <a:graphicData uri="http://schemas.openxmlformats.org/drawingml/2006/table">
            <a:tbl>
              <a:tblPr/>
              <a:tblGrid>
                <a:gridCol w="876785">
                  <a:extLst>
                    <a:ext uri="{9D8B030D-6E8A-4147-A177-3AD203B41FA5}">
                      <a16:colId xmlns:a16="http://schemas.microsoft.com/office/drawing/2014/main" val="1792962266"/>
                    </a:ext>
                  </a:extLst>
                </a:gridCol>
                <a:gridCol w="4717037">
                  <a:extLst>
                    <a:ext uri="{9D8B030D-6E8A-4147-A177-3AD203B41FA5}">
                      <a16:colId xmlns:a16="http://schemas.microsoft.com/office/drawing/2014/main" val="1296880906"/>
                    </a:ext>
                  </a:extLst>
                </a:gridCol>
                <a:gridCol w="978216">
                  <a:extLst>
                    <a:ext uri="{9D8B030D-6E8A-4147-A177-3AD203B41FA5}">
                      <a16:colId xmlns:a16="http://schemas.microsoft.com/office/drawing/2014/main" val="1552678016"/>
                    </a:ext>
                  </a:extLst>
                </a:gridCol>
                <a:gridCol w="1061370">
                  <a:extLst>
                    <a:ext uri="{9D8B030D-6E8A-4147-A177-3AD203B41FA5}">
                      <a16:colId xmlns:a16="http://schemas.microsoft.com/office/drawing/2014/main" val="474409416"/>
                    </a:ext>
                  </a:extLst>
                </a:gridCol>
              </a:tblGrid>
              <a:tr h="449137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t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ubriqu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ant estimé (k€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7061009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hangement bande UPB par vis sans fi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9693584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ne passerelle de contrôle des chargeurs rotatif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S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448572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niformiser les accessoires des aspirateur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iv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99774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 Nouveaux hublots diffuseu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iv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2431698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atelage du creuset (1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8681281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teyage lingotière VA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S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6021576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chat creuset d'affinage n°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abi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3347692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 jeux de 40 futs pour stockage briquett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iv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8784665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 racks de stockage pour charge (1 en cours de consultation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iv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2701518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n manipulateur de torch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abi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3930388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sserelles de contrôle chambre d'extractio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S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8207429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Isolation phonique de la facade EST du bâtimen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S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528171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 lingotière VAR (1 à minima est nécessaire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abi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9175614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ise en place d'un PC de suivie supervision sous UPB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iv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2322917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mpes hydrauliques PA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abi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8543446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Vérin presse complet (point à faire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abi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5866008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lf de rechange groupe de puissan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abi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5258381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écheur He de rechange (6k€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abi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2608219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emplacement analyseurs Hydrogèn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abi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5989544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gnes de vie pour intervention torche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S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6367656"/>
                  </a:ext>
                </a:extLst>
              </a:tr>
              <a:tr h="1750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écurisation PAM (organe de consignation entre four et filtre à poussière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S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42446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ntretien compresseur Héliu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abi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9333594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jout supervision PAM pour libérer ETP maintenan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iv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4002370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 base VAR pré-usiné en stock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iv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9903634"/>
                  </a:ext>
                </a:extLst>
              </a:tr>
              <a:tr h="14971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SI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iv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2719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339419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0000" y="0"/>
            <a:ext cx="8064000" cy="567359"/>
          </a:xfrm>
        </p:spPr>
        <p:txBody>
          <a:bodyPr/>
          <a:lstStyle/>
          <a:p>
            <a:r>
              <a:rPr lang="fr-FR"/>
              <a:t>07- Investissements Premium </a:t>
            </a:r>
            <a:r>
              <a:rPr lang="fr-FR" err="1"/>
              <a:t>Quality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43</a:t>
            </a:fld>
            <a:endParaRPr lang="fr-FR">
              <a:solidFill>
                <a:srgbClr val="FA6414"/>
              </a:solidFill>
            </a:endParaRPr>
          </a:p>
        </p:txBody>
      </p:sp>
      <p:sp>
        <p:nvSpPr>
          <p:cNvPr id="10" name="Espace réservé du pied de page 5"/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8" name="Espace réservé du contenu 10"/>
          <p:cNvSpPr txBox="1">
            <a:spLocks/>
          </p:cNvSpPr>
          <p:nvPr/>
        </p:nvSpPr>
        <p:spPr bwMode="gray">
          <a:xfrm>
            <a:off x="503548" y="637525"/>
            <a:ext cx="8459699" cy="58678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just"/>
            <a:endParaRPr lang="fr-FR">
              <a:sym typeface="Wingdings" panose="05000000000000000000" pitchFamily="2" charset="2"/>
            </a:endParaRPr>
          </a:p>
        </p:txBody>
      </p:sp>
      <p:sp>
        <p:nvSpPr>
          <p:cNvPr id="15" name="Espace réservé du contenu 1">
            <a:extLst>
              <a:ext uri="{FF2B5EF4-FFF2-40B4-BE49-F238E27FC236}">
                <a16:creationId xmlns:a16="http://schemas.microsoft.com/office/drawing/2014/main" id="{E6382F22-0C09-4CF8-9ADC-380D73B49E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998999"/>
            <a:ext cx="8570384" cy="5193683"/>
          </a:xfrm>
        </p:spPr>
        <p:txBody>
          <a:bodyPr/>
          <a:lstStyle/>
          <a:p>
            <a:pPr marL="269875" lvl="2" indent="-269875" algn="just"/>
            <a:r>
              <a:rPr lang="fr-FR" b="0">
                <a:solidFill>
                  <a:srgbClr val="1A003B"/>
                </a:solidFill>
                <a:cs typeface="Arial"/>
              </a:rPr>
              <a:t>Montant supplémentaire : 886 k€</a:t>
            </a:r>
          </a:p>
          <a:p>
            <a:endParaRPr lang="fr-FR" sz="1500"/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5813AEFF-F94C-401B-AA20-9C19615742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6038038"/>
              </p:ext>
            </p:extLst>
          </p:nvPr>
        </p:nvGraphicFramePr>
        <p:xfrm>
          <a:off x="539749" y="1370618"/>
          <a:ext cx="7475362" cy="4479003"/>
        </p:xfrm>
        <a:graphic>
          <a:graphicData uri="http://schemas.openxmlformats.org/drawingml/2006/table">
            <a:tbl>
              <a:tblPr/>
              <a:tblGrid>
                <a:gridCol w="858632">
                  <a:extLst>
                    <a:ext uri="{9D8B030D-6E8A-4147-A177-3AD203B41FA5}">
                      <a16:colId xmlns:a16="http://schemas.microsoft.com/office/drawing/2014/main" val="3329088525"/>
                    </a:ext>
                  </a:extLst>
                </a:gridCol>
                <a:gridCol w="4549237">
                  <a:extLst>
                    <a:ext uri="{9D8B030D-6E8A-4147-A177-3AD203B41FA5}">
                      <a16:colId xmlns:a16="http://schemas.microsoft.com/office/drawing/2014/main" val="559684216"/>
                    </a:ext>
                  </a:extLst>
                </a:gridCol>
                <a:gridCol w="1028097">
                  <a:extLst>
                    <a:ext uri="{9D8B030D-6E8A-4147-A177-3AD203B41FA5}">
                      <a16:colId xmlns:a16="http://schemas.microsoft.com/office/drawing/2014/main" val="791169943"/>
                    </a:ext>
                  </a:extLst>
                </a:gridCol>
                <a:gridCol w="1039396">
                  <a:extLst>
                    <a:ext uri="{9D8B030D-6E8A-4147-A177-3AD203B41FA5}">
                      <a16:colId xmlns:a16="http://schemas.microsoft.com/office/drawing/2014/main" val="2257815112"/>
                    </a:ext>
                  </a:extLst>
                </a:gridCol>
              </a:tblGrid>
              <a:tr h="556599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t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ubriqu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ant total estimé (k€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1450004"/>
                  </a:ext>
                </a:extLst>
              </a:tr>
              <a:tr h="18553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oisonnement des flux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1823333"/>
                  </a:ext>
                </a:extLst>
              </a:tr>
              <a:tr h="18553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quipement de nettoyage PA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8827837"/>
                  </a:ext>
                </a:extLst>
              </a:tr>
              <a:tr h="18553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it pour ascenseurs à fut au PA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6575381"/>
                  </a:ext>
                </a:extLst>
              </a:tr>
              <a:tr h="18553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it pour chargement caisses au PA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2503145"/>
                  </a:ext>
                </a:extLst>
              </a:tr>
              <a:tr h="18553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rôle et nettoyage rotary feede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2704161"/>
                  </a:ext>
                </a:extLst>
              </a:tr>
              <a:tr h="18553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onception vibran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9223851"/>
                  </a:ext>
                </a:extLst>
              </a:tr>
              <a:tr h="18553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blots "Pin hole"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8043131"/>
                  </a:ext>
                </a:extLst>
              </a:tr>
              <a:tr h="18553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uvelle caméra + pyromètre + prestation analyse d’imag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8675042"/>
                  </a:ext>
                </a:extLst>
              </a:tr>
              <a:tr h="18553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égulation vitesse de poussée des caisses au PA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6680870"/>
                  </a:ext>
                </a:extLst>
              </a:tr>
              <a:tr h="18553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if</a:t>
                      </a:r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épaulement tige d'accroche au VA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3572064"/>
                  </a:ext>
                </a:extLst>
              </a:tr>
              <a:tr h="18553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ulation vitesse de fusion briquette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4933439"/>
                  </a:ext>
                </a:extLst>
              </a:tr>
              <a:tr h="18553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one de quarantaine + zone de mise en vent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8213258"/>
                  </a:ext>
                </a:extLst>
              </a:tr>
              <a:tr h="18553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ck de stockage éponges standard et P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140724"/>
                  </a:ext>
                </a:extLst>
              </a:tr>
              <a:tr h="18553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oser d'une pince à fût pour le chariot copeaux/éponge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8686722"/>
                  </a:ext>
                </a:extLst>
              </a:tr>
              <a:tr h="18553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isses inox ou alu pour les copeaux provenant du processeu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6976272"/>
                  </a:ext>
                </a:extLst>
              </a:tr>
              <a:tr h="21174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stion de la pollution sur les ascenseurs et basculeurs UPB et PA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1482154"/>
                  </a:ext>
                </a:extLst>
              </a:tr>
              <a:tr h="18553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oser d'équipement de nettoyage sur chaque installatio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3172708"/>
                  </a:ext>
                </a:extLst>
              </a:tr>
              <a:tr h="18553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one de vérification éclairée pour contrôle visuel des éponge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5757987"/>
                  </a:ext>
                </a:extLst>
              </a:tr>
              <a:tr h="18553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uveau couvercle de caisses TiCP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6462349"/>
                  </a:ext>
                </a:extLst>
              </a:tr>
              <a:tr h="18553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ériel pour gestion des interventions de productio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6371788"/>
                  </a:ext>
                </a:extLst>
              </a:tr>
              <a:tr h="18553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ériel pour gestion des interventions de maintenan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5776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0502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 txBox="1">
            <a:spLocks/>
          </p:cNvSpPr>
          <p:nvPr/>
        </p:nvSpPr>
        <p:spPr bwMode="gray">
          <a:xfrm>
            <a:off x="237896" y="-162495"/>
            <a:ext cx="8064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2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/>
              <a:t>Planification Elaboration EcoTitanium</a:t>
            </a:r>
          </a:p>
          <a:p>
            <a:r>
              <a:rPr lang="fr-FR"/>
              <a:t>Sécurisation source Eponge</a:t>
            </a:r>
          </a:p>
        </p:txBody>
      </p:sp>
      <p:sp>
        <p:nvSpPr>
          <p:cNvPr id="9" name="Espace réservé du numéro de diapositive 6">
            <a:extLst>
              <a:ext uri="{FF2B5EF4-FFF2-40B4-BE49-F238E27FC236}">
                <a16:creationId xmlns:a16="http://schemas.microsoft.com/office/drawing/2014/main" id="{F1CE4F67-C909-41C5-8938-A82741647200}"/>
              </a:ext>
            </a:extLst>
          </p:cNvPr>
          <p:cNvSpPr txBox="1">
            <a:spLocks/>
          </p:cNvSpPr>
          <p:nvPr/>
        </p:nvSpPr>
        <p:spPr bwMode="gray">
          <a:xfrm>
            <a:off x="653733" y="6166379"/>
            <a:ext cx="288033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lnSpc>
                <a:spcPct val="90000"/>
              </a:lnSpc>
              <a:defRPr sz="9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3122C9-A0B9-462F-8757-0847AD287B63}" type="slidenum">
              <a:rPr lang="fr-FR" dirty="0"/>
              <a:pPr/>
              <a:t>5</a:t>
            </a:fld>
            <a:endParaRPr lang="fr-FR"/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4F806E84-174A-4974-AE80-248AB2C0EC95}"/>
              </a:ext>
            </a:extLst>
          </p:cNvPr>
          <p:cNvSpPr txBox="1"/>
          <p:nvPr/>
        </p:nvSpPr>
        <p:spPr>
          <a:xfrm>
            <a:off x="8243999" y="74189"/>
            <a:ext cx="786659" cy="507831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900">
                <a:solidFill>
                  <a:schemeClr val="tx2"/>
                </a:solidFill>
              </a:rPr>
              <a:t>Actualisé </a:t>
            </a:r>
          </a:p>
          <a:p>
            <a:pPr algn="ctr"/>
            <a:r>
              <a:rPr lang="fr-FR" sz="900">
                <a:solidFill>
                  <a:schemeClr val="tx2"/>
                </a:solidFill>
              </a:rPr>
              <a:t>le </a:t>
            </a:r>
            <a:r>
              <a:rPr lang="fr-FR" sz="900" b="1">
                <a:solidFill>
                  <a:schemeClr val="tx2"/>
                </a:solidFill>
              </a:rPr>
              <a:t>15 Fév</a:t>
            </a:r>
            <a:r>
              <a:rPr lang="fr-FR" sz="900">
                <a:solidFill>
                  <a:schemeClr val="tx2"/>
                </a:solidFill>
              </a:rPr>
              <a:t>. 2022</a:t>
            </a:r>
          </a:p>
        </p:txBody>
      </p:sp>
      <p:sp>
        <p:nvSpPr>
          <p:cNvPr id="20" name="Espace réservé du contenu 2">
            <a:extLst>
              <a:ext uri="{FF2B5EF4-FFF2-40B4-BE49-F238E27FC236}">
                <a16:creationId xmlns:a16="http://schemas.microsoft.com/office/drawing/2014/main" id="{614CDC97-FAEA-4182-83B3-B39FC848D0C0}"/>
              </a:ext>
            </a:extLst>
          </p:cNvPr>
          <p:cNvSpPr txBox="1">
            <a:spLocks/>
          </p:cNvSpPr>
          <p:nvPr/>
        </p:nvSpPr>
        <p:spPr bwMode="gray">
          <a:xfrm>
            <a:off x="3167455" y="5024926"/>
            <a:ext cx="1351205" cy="81418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36000" tIns="36000" rIns="36000" bIns="0" rtlCol="0" anchor="t" anchorCtr="0">
            <a:noAutofit/>
          </a:bodyPr>
          <a:lstStyle>
            <a:defPPr>
              <a:defRPr lang="fr-FR"/>
            </a:defPPr>
            <a:lvl1pPr marL="317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/>
            </a:lvl2pPr>
            <a:lvl3pPr marL="270000" indent="-270000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2"/>
              </a:buBlip>
              <a:defRPr sz="1400" b="1" baseline="0"/>
            </a:lvl3pPr>
            <a:lvl4pPr marL="2700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/>
            </a:lvl4pPr>
            <a:lvl5pPr marL="719138" indent="-269875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/>
            </a:lvl5pPr>
            <a:lvl6pPr marL="1081088" indent="-179388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fr-FR" sz="1000"/>
              <a:t>Nous attendons le plan de livraison d’</a:t>
            </a:r>
            <a:r>
              <a:rPr lang="fr-FR" sz="1000">
                <a:solidFill>
                  <a:schemeClr val="accent2"/>
                </a:solidFill>
              </a:rPr>
              <a:t>UKTMP </a:t>
            </a:r>
            <a:r>
              <a:rPr lang="fr-FR" sz="1000"/>
              <a:t>pour confirmer cette partie.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0222ED9A-713A-4BE6-80C8-87AC8E1841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2282" y="4496158"/>
            <a:ext cx="142592" cy="178240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6EEDE536-0864-484E-AEAE-26CD91C71E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000" y="1469239"/>
            <a:ext cx="9144000" cy="3482657"/>
          </a:xfrm>
          <a:prstGeom prst="rect">
            <a:avLst/>
          </a:prstGeom>
        </p:spPr>
      </p:pic>
      <p:sp>
        <p:nvSpPr>
          <p:cNvPr id="23" name="Espace réservé du contenu 2">
            <a:extLst>
              <a:ext uri="{FF2B5EF4-FFF2-40B4-BE49-F238E27FC236}">
                <a16:creationId xmlns:a16="http://schemas.microsoft.com/office/drawing/2014/main" id="{CAA3B090-5B9A-42BD-9907-F877F7C0C5BF}"/>
              </a:ext>
            </a:extLst>
          </p:cNvPr>
          <p:cNvSpPr txBox="1">
            <a:spLocks/>
          </p:cNvSpPr>
          <p:nvPr/>
        </p:nvSpPr>
        <p:spPr bwMode="gray">
          <a:xfrm>
            <a:off x="2217699" y="785537"/>
            <a:ext cx="1194771" cy="756732"/>
          </a:xfrm>
          <a:prstGeom prst="rect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36000" tIns="36000" rIns="36000" bIns="0" rtlCol="0" anchor="t" anchorCtr="0">
            <a:noAutofit/>
          </a:bodyPr>
          <a:lstStyle>
            <a:defPPr>
              <a:defRPr lang="fr-FR"/>
            </a:defPPr>
            <a:lvl1pPr marL="317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/>
            </a:lvl2pPr>
            <a:lvl3pPr marL="270000" indent="-270000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2"/>
              </a:buBlip>
              <a:defRPr sz="1400" b="1" baseline="0"/>
            </a:lvl3pPr>
            <a:lvl4pPr marL="2700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/>
            </a:lvl4pPr>
            <a:lvl5pPr marL="719138" indent="-269875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/>
            </a:lvl5pPr>
            <a:lvl6pPr marL="1081088" indent="-179388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fr-FR" sz="1000">
                <a:solidFill>
                  <a:schemeClr val="accent2"/>
                </a:solidFill>
              </a:rPr>
              <a:t>Eponges AMIC</a:t>
            </a:r>
          </a:p>
          <a:p>
            <a:r>
              <a:rPr lang="fr-FR" sz="1000"/>
              <a:t>Prévu </a:t>
            </a:r>
            <a:r>
              <a:rPr lang="fr-FR" sz="1000">
                <a:solidFill>
                  <a:schemeClr val="accent2"/>
                </a:solidFill>
              </a:rPr>
              <a:t>S13</a:t>
            </a:r>
          </a:p>
          <a:p>
            <a:r>
              <a:rPr lang="fr-FR" sz="1000"/>
              <a:t>Finalité</a:t>
            </a:r>
            <a:r>
              <a:rPr lang="fr-FR" sz="1000">
                <a:solidFill>
                  <a:schemeClr val="accent2"/>
                </a:solidFill>
              </a:rPr>
              <a:t> AIRBUS</a:t>
            </a:r>
          </a:p>
        </p:txBody>
      </p:sp>
      <p:cxnSp>
        <p:nvCxnSpPr>
          <p:cNvPr id="24" name="Connecteur droit avec flèche 23">
            <a:extLst>
              <a:ext uri="{FF2B5EF4-FFF2-40B4-BE49-F238E27FC236}">
                <a16:creationId xmlns:a16="http://schemas.microsoft.com/office/drawing/2014/main" id="{93727EA5-CACA-49B6-AEBE-71FB5622AA43}"/>
              </a:ext>
            </a:extLst>
          </p:cNvPr>
          <p:cNvCxnSpPr>
            <a:cxnSpLocks/>
            <a:stCxn id="23" idx="2"/>
            <a:endCxn id="32" idx="1"/>
          </p:cNvCxnSpPr>
          <p:nvPr/>
        </p:nvCxnSpPr>
        <p:spPr>
          <a:xfrm>
            <a:off x="2815085" y="1542269"/>
            <a:ext cx="1027972" cy="1501099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41A3B704-C2C0-419F-92C0-D9BA39B13E8D}"/>
              </a:ext>
            </a:extLst>
          </p:cNvPr>
          <p:cNvSpPr/>
          <p:nvPr/>
        </p:nvSpPr>
        <p:spPr>
          <a:xfrm>
            <a:off x="3105301" y="2638713"/>
            <a:ext cx="6061385" cy="1024222"/>
          </a:xfrm>
          <a:prstGeom prst="rect">
            <a:avLst/>
          </a:prstGeom>
          <a:solidFill>
            <a:schemeClr val="accent4">
              <a:lumMod val="10000"/>
              <a:lumOff val="90000"/>
              <a:alpha val="32000"/>
            </a:schemeClr>
          </a:solidFill>
          <a:ln>
            <a:prstDash val="dash"/>
            <a:extLst>
              <a:ext uri="{C807C97D-BFC1-408E-A445-0C87EB9F89A2}">
                <ask:lineSketchStyleProps xmlns:ask="http://schemas.microsoft.com/office/drawing/2018/sketchyshapes" sd="3706926935">
                  <a:custGeom>
                    <a:avLst/>
                    <a:gdLst>
                      <a:gd name="connsiteX0" fmla="*/ 0 w 4299144"/>
                      <a:gd name="connsiteY0" fmla="*/ 0 h 268423"/>
                      <a:gd name="connsiteX1" fmla="*/ 623376 w 4299144"/>
                      <a:gd name="connsiteY1" fmla="*/ 0 h 268423"/>
                      <a:gd name="connsiteX2" fmla="*/ 1246752 w 4299144"/>
                      <a:gd name="connsiteY2" fmla="*/ 0 h 268423"/>
                      <a:gd name="connsiteX3" fmla="*/ 1827136 w 4299144"/>
                      <a:gd name="connsiteY3" fmla="*/ 0 h 268423"/>
                      <a:gd name="connsiteX4" fmla="*/ 2364529 w 4299144"/>
                      <a:gd name="connsiteY4" fmla="*/ 0 h 268423"/>
                      <a:gd name="connsiteX5" fmla="*/ 2815939 w 4299144"/>
                      <a:gd name="connsiteY5" fmla="*/ 0 h 268423"/>
                      <a:gd name="connsiteX6" fmla="*/ 3267349 w 4299144"/>
                      <a:gd name="connsiteY6" fmla="*/ 0 h 268423"/>
                      <a:gd name="connsiteX7" fmla="*/ 3718760 w 4299144"/>
                      <a:gd name="connsiteY7" fmla="*/ 0 h 268423"/>
                      <a:gd name="connsiteX8" fmla="*/ 4299144 w 4299144"/>
                      <a:gd name="connsiteY8" fmla="*/ 0 h 268423"/>
                      <a:gd name="connsiteX9" fmla="*/ 4299144 w 4299144"/>
                      <a:gd name="connsiteY9" fmla="*/ 268423 h 268423"/>
                      <a:gd name="connsiteX10" fmla="*/ 3890725 w 4299144"/>
                      <a:gd name="connsiteY10" fmla="*/ 268423 h 268423"/>
                      <a:gd name="connsiteX11" fmla="*/ 3267349 w 4299144"/>
                      <a:gd name="connsiteY11" fmla="*/ 268423 h 268423"/>
                      <a:gd name="connsiteX12" fmla="*/ 2815939 w 4299144"/>
                      <a:gd name="connsiteY12" fmla="*/ 268423 h 268423"/>
                      <a:gd name="connsiteX13" fmla="*/ 2192563 w 4299144"/>
                      <a:gd name="connsiteY13" fmla="*/ 268423 h 268423"/>
                      <a:gd name="connsiteX14" fmla="*/ 1569188 w 4299144"/>
                      <a:gd name="connsiteY14" fmla="*/ 268423 h 268423"/>
                      <a:gd name="connsiteX15" fmla="*/ 988803 w 4299144"/>
                      <a:gd name="connsiteY15" fmla="*/ 268423 h 268423"/>
                      <a:gd name="connsiteX16" fmla="*/ 494402 w 4299144"/>
                      <a:gd name="connsiteY16" fmla="*/ 268423 h 268423"/>
                      <a:gd name="connsiteX17" fmla="*/ 0 w 4299144"/>
                      <a:gd name="connsiteY17" fmla="*/ 268423 h 268423"/>
                      <a:gd name="connsiteX18" fmla="*/ 0 w 4299144"/>
                      <a:gd name="connsiteY18" fmla="*/ 0 h 2684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4299144" h="268423" extrusionOk="0">
                        <a:moveTo>
                          <a:pt x="0" y="0"/>
                        </a:moveTo>
                        <a:cubicBezTo>
                          <a:pt x="153659" y="-16258"/>
                          <a:pt x="481209" y="43038"/>
                          <a:pt x="623376" y="0"/>
                        </a:cubicBezTo>
                        <a:cubicBezTo>
                          <a:pt x="765543" y="-43038"/>
                          <a:pt x="1071117" y="38865"/>
                          <a:pt x="1246752" y="0"/>
                        </a:cubicBezTo>
                        <a:cubicBezTo>
                          <a:pt x="1422387" y="-38865"/>
                          <a:pt x="1568952" y="26977"/>
                          <a:pt x="1827136" y="0"/>
                        </a:cubicBezTo>
                        <a:cubicBezTo>
                          <a:pt x="2085320" y="-26977"/>
                          <a:pt x="2254620" y="39455"/>
                          <a:pt x="2364529" y="0"/>
                        </a:cubicBezTo>
                        <a:cubicBezTo>
                          <a:pt x="2474438" y="-39455"/>
                          <a:pt x="2721821" y="38867"/>
                          <a:pt x="2815939" y="0"/>
                        </a:cubicBezTo>
                        <a:cubicBezTo>
                          <a:pt x="2910057" y="-38867"/>
                          <a:pt x="3130872" y="9821"/>
                          <a:pt x="3267349" y="0"/>
                        </a:cubicBezTo>
                        <a:cubicBezTo>
                          <a:pt x="3403826" y="-9821"/>
                          <a:pt x="3554288" y="18991"/>
                          <a:pt x="3718760" y="0"/>
                        </a:cubicBezTo>
                        <a:cubicBezTo>
                          <a:pt x="3883232" y="-18991"/>
                          <a:pt x="4101439" y="67016"/>
                          <a:pt x="4299144" y="0"/>
                        </a:cubicBezTo>
                        <a:cubicBezTo>
                          <a:pt x="4325199" y="109331"/>
                          <a:pt x="4292654" y="163955"/>
                          <a:pt x="4299144" y="268423"/>
                        </a:cubicBezTo>
                        <a:cubicBezTo>
                          <a:pt x="4144663" y="291460"/>
                          <a:pt x="4048627" y="254926"/>
                          <a:pt x="3890725" y="268423"/>
                        </a:cubicBezTo>
                        <a:cubicBezTo>
                          <a:pt x="3732823" y="281920"/>
                          <a:pt x="3452494" y="211363"/>
                          <a:pt x="3267349" y="268423"/>
                        </a:cubicBezTo>
                        <a:cubicBezTo>
                          <a:pt x="3082204" y="325483"/>
                          <a:pt x="2949192" y="242886"/>
                          <a:pt x="2815939" y="268423"/>
                        </a:cubicBezTo>
                        <a:cubicBezTo>
                          <a:pt x="2682686" y="293960"/>
                          <a:pt x="2448884" y="206716"/>
                          <a:pt x="2192563" y="268423"/>
                        </a:cubicBezTo>
                        <a:cubicBezTo>
                          <a:pt x="1936242" y="330130"/>
                          <a:pt x="1812936" y="217430"/>
                          <a:pt x="1569188" y="268423"/>
                        </a:cubicBezTo>
                        <a:cubicBezTo>
                          <a:pt x="1325440" y="319416"/>
                          <a:pt x="1236300" y="227524"/>
                          <a:pt x="988803" y="268423"/>
                        </a:cubicBezTo>
                        <a:cubicBezTo>
                          <a:pt x="741307" y="309322"/>
                          <a:pt x="619410" y="249098"/>
                          <a:pt x="494402" y="268423"/>
                        </a:cubicBezTo>
                        <a:cubicBezTo>
                          <a:pt x="369394" y="287748"/>
                          <a:pt x="101496" y="257709"/>
                          <a:pt x="0" y="268423"/>
                        </a:cubicBezTo>
                        <a:cubicBezTo>
                          <a:pt x="-28139" y="194859"/>
                          <a:pt x="16606" y="83969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26" name="Connecteur droit avec flèche 25">
            <a:extLst>
              <a:ext uri="{FF2B5EF4-FFF2-40B4-BE49-F238E27FC236}">
                <a16:creationId xmlns:a16="http://schemas.microsoft.com/office/drawing/2014/main" id="{6F1F9EF7-BC55-4A0F-90CF-E048CDF46180}"/>
              </a:ext>
            </a:extLst>
          </p:cNvPr>
          <p:cNvCxnSpPr>
            <a:cxnSpLocks/>
            <a:stCxn id="20" idx="0"/>
            <a:endCxn id="25" idx="2"/>
          </p:cNvCxnSpPr>
          <p:nvPr/>
        </p:nvCxnSpPr>
        <p:spPr>
          <a:xfrm flipV="1">
            <a:off x="3843058" y="3662935"/>
            <a:ext cx="2292936" cy="1361991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7" name="Espace réservé du contenu 2">
            <a:extLst>
              <a:ext uri="{FF2B5EF4-FFF2-40B4-BE49-F238E27FC236}">
                <a16:creationId xmlns:a16="http://schemas.microsoft.com/office/drawing/2014/main" id="{1A3EED80-BE8F-456D-88EE-39315952595D}"/>
              </a:ext>
            </a:extLst>
          </p:cNvPr>
          <p:cNvSpPr txBox="1">
            <a:spLocks/>
          </p:cNvSpPr>
          <p:nvPr/>
        </p:nvSpPr>
        <p:spPr bwMode="gray">
          <a:xfrm>
            <a:off x="705240" y="5322446"/>
            <a:ext cx="1076831" cy="699533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36000" tIns="36000" rIns="36000" bIns="0" rtlCol="0" anchor="t" anchorCtr="0">
            <a:noAutofit/>
          </a:bodyPr>
          <a:lstStyle>
            <a:defPPr>
              <a:defRPr lang="fr-FR"/>
            </a:defPPr>
            <a:lvl1pPr marL="317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/>
            </a:lvl2pPr>
            <a:lvl3pPr marL="270000" indent="-270000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2"/>
              </a:buBlip>
              <a:defRPr sz="1400" b="1" baseline="0"/>
            </a:lvl3pPr>
            <a:lvl4pPr marL="2700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/>
            </a:lvl4pPr>
            <a:lvl5pPr marL="719138" indent="-269875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/>
            </a:lvl5pPr>
            <a:lvl6pPr marL="1081088" indent="-179388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fr-FR" sz="1000"/>
              <a:t>Sécurisation appros par </a:t>
            </a:r>
            <a:r>
              <a:rPr lang="fr-FR" sz="1000">
                <a:solidFill>
                  <a:schemeClr val="accent2"/>
                </a:solidFill>
              </a:rPr>
              <a:t>Eponges TOHO en cours</a:t>
            </a:r>
            <a:endParaRPr lang="fr-FR" sz="1000"/>
          </a:p>
        </p:txBody>
      </p: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93866E60-2596-4A31-B1E9-D9921BB0F000}"/>
              </a:ext>
            </a:extLst>
          </p:cNvPr>
          <p:cNvCxnSpPr>
            <a:cxnSpLocks/>
            <a:stCxn id="27" idx="3"/>
            <a:endCxn id="30" idx="2"/>
          </p:cNvCxnSpPr>
          <p:nvPr/>
        </p:nvCxnSpPr>
        <p:spPr>
          <a:xfrm flipV="1">
            <a:off x="1782071" y="3996439"/>
            <a:ext cx="1803525" cy="1675774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FCF584C5-A1A0-4659-B973-5C956462BDA6}"/>
              </a:ext>
            </a:extLst>
          </p:cNvPr>
          <p:cNvSpPr/>
          <p:nvPr/>
        </p:nvSpPr>
        <p:spPr>
          <a:xfrm>
            <a:off x="3175285" y="2609599"/>
            <a:ext cx="820622" cy="1386840"/>
          </a:xfrm>
          <a:prstGeom prst="rect">
            <a:avLst/>
          </a:prstGeom>
          <a:solidFill>
            <a:srgbClr val="92D050">
              <a:alpha val="32000"/>
            </a:srgbClr>
          </a:solidFill>
          <a:ln>
            <a:prstDash val="dash"/>
            <a:extLst>
              <a:ext uri="{C807C97D-BFC1-408E-A445-0C87EB9F89A2}">
                <ask:lineSketchStyleProps xmlns:ask="http://schemas.microsoft.com/office/drawing/2018/sketchyshapes" sd="3706926935">
                  <a:custGeom>
                    <a:avLst/>
                    <a:gdLst>
                      <a:gd name="connsiteX0" fmla="*/ 0 w 4299144"/>
                      <a:gd name="connsiteY0" fmla="*/ 0 h 268423"/>
                      <a:gd name="connsiteX1" fmla="*/ 623376 w 4299144"/>
                      <a:gd name="connsiteY1" fmla="*/ 0 h 268423"/>
                      <a:gd name="connsiteX2" fmla="*/ 1246752 w 4299144"/>
                      <a:gd name="connsiteY2" fmla="*/ 0 h 268423"/>
                      <a:gd name="connsiteX3" fmla="*/ 1827136 w 4299144"/>
                      <a:gd name="connsiteY3" fmla="*/ 0 h 268423"/>
                      <a:gd name="connsiteX4" fmla="*/ 2364529 w 4299144"/>
                      <a:gd name="connsiteY4" fmla="*/ 0 h 268423"/>
                      <a:gd name="connsiteX5" fmla="*/ 2815939 w 4299144"/>
                      <a:gd name="connsiteY5" fmla="*/ 0 h 268423"/>
                      <a:gd name="connsiteX6" fmla="*/ 3267349 w 4299144"/>
                      <a:gd name="connsiteY6" fmla="*/ 0 h 268423"/>
                      <a:gd name="connsiteX7" fmla="*/ 3718760 w 4299144"/>
                      <a:gd name="connsiteY7" fmla="*/ 0 h 268423"/>
                      <a:gd name="connsiteX8" fmla="*/ 4299144 w 4299144"/>
                      <a:gd name="connsiteY8" fmla="*/ 0 h 268423"/>
                      <a:gd name="connsiteX9" fmla="*/ 4299144 w 4299144"/>
                      <a:gd name="connsiteY9" fmla="*/ 268423 h 268423"/>
                      <a:gd name="connsiteX10" fmla="*/ 3890725 w 4299144"/>
                      <a:gd name="connsiteY10" fmla="*/ 268423 h 268423"/>
                      <a:gd name="connsiteX11" fmla="*/ 3267349 w 4299144"/>
                      <a:gd name="connsiteY11" fmla="*/ 268423 h 268423"/>
                      <a:gd name="connsiteX12" fmla="*/ 2815939 w 4299144"/>
                      <a:gd name="connsiteY12" fmla="*/ 268423 h 268423"/>
                      <a:gd name="connsiteX13" fmla="*/ 2192563 w 4299144"/>
                      <a:gd name="connsiteY13" fmla="*/ 268423 h 268423"/>
                      <a:gd name="connsiteX14" fmla="*/ 1569188 w 4299144"/>
                      <a:gd name="connsiteY14" fmla="*/ 268423 h 268423"/>
                      <a:gd name="connsiteX15" fmla="*/ 988803 w 4299144"/>
                      <a:gd name="connsiteY15" fmla="*/ 268423 h 268423"/>
                      <a:gd name="connsiteX16" fmla="*/ 494402 w 4299144"/>
                      <a:gd name="connsiteY16" fmla="*/ 268423 h 268423"/>
                      <a:gd name="connsiteX17" fmla="*/ 0 w 4299144"/>
                      <a:gd name="connsiteY17" fmla="*/ 268423 h 268423"/>
                      <a:gd name="connsiteX18" fmla="*/ 0 w 4299144"/>
                      <a:gd name="connsiteY18" fmla="*/ 0 h 2684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4299144" h="268423" extrusionOk="0">
                        <a:moveTo>
                          <a:pt x="0" y="0"/>
                        </a:moveTo>
                        <a:cubicBezTo>
                          <a:pt x="153659" y="-16258"/>
                          <a:pt x="481209" y="43038"/>
                          <a:pt x="623376" y="0"/>
                        </a:cubicBezTo>
                        <a:cubicBezTo>
                          <a:pt x="765543" y="-43038"/>
                          <a:pt x="1071117" y="38865"/>
                          <a:pt x="1246752" y="0"/>
                        </a:cubicBezTo>
                        <a:cubicBezTo>
                          <a:pt x="1422387" y="-38865"/>
                          <a:pt x="1568952" y="26977"/>
                          <a:pt x="1827136" y="0"/>
                        </a:cubicBezTo>
                        <a:cubicBezTo>
                          <a:pt x="2085320" y="-26977"/>
                          <a:pt x="2254620" y="39455"/>
                          <a:pt x="2364529" y="0"/>
                        </a:cubicBezTo>
                        <a:cubicBezTo>
                          <a:pt x="2474438" y="-39455"/>
                          <a:pt x="2721821" y="38867"/>
                          <a:pt x="2815939" y="0"/>
                        </a:cubicBezTo>
                        <a:cubicBezTo>
                          <a:pt x="2910057" y="-38867"/>
                          <a:pt x="3130872" y="9821"/>
                          <a:pt x="3267349" y="0"/>
                        </a:cubicBezTo>
                        <a:cubicBezTo>
                          <a:pt x="3403826" y="-9821"/>
                          <a:pt x="3554288" y="18991"/>
                          <a:pt x="3718760" y="0"/>
                        </a:cubicBezTo>
                        <a:cubicBezTo>
                          <a:pt x="3883232" y="-18991"/>
                          <a:pt x="4101439" y="67016"/>
                          <a:pt x="4299144" y="0"/>
                        </a:cubicBezTo>
                        <a:cubicBezTo>
                          <a:pt x="4325199" y="109331"/>
                          <a:pt x="4292654" y="163955"/>
                          <a:pt x="4299144" y="268423"/>
                        </a:cubicBezTo>
                        <a:cubicBezTo>
                          <a:pt x="4144663" y="291460"/>
                          <a:pt x="4048627" y="254926"/>
                          <a:pt x="3890725" y="268423"/>
                        </a:cubicBezTo>
                        <a:cubicBezTo>
                          <a:pt x="3732823" y="281920"/>
                          <a:pt x="3452494" y="211363"/>
                          <a:pt x="3267349" y="268423"/>
                        </a:cubicBezTo>
                        <a:cubicBezTo>
                          <a:pt x="3082204" y="325483"/>
                          <a:pt x="2949192" y="242886"/>
                          <a:pt x="2815939" y="268423"/>
                        </a:cubicBezTo>
                        <a:cubicBezTo>
                          <a:pt x="2682686" y="293960"/>
                          <a:pt x="2448884" y="206716"/>
                          <a:pt x="2192563" y="268423"/>
                        </a:cubicBezTo>
                        <a:cubicBezTo>
                          <a:pt x="1936242" y="330130"/>
                          <a:pt x="1812936" y="217430"/>
                          <a:pt x="1569188" y="268423"/>
                        </a:cubicBezTo>
                        <a:cubicBezTo>
                          <a:pt x="1325440" y="319416"/>
                          <a:pt x="1236300" y="227524"/>
                          <a:pt x="988803" y="268423"/>
                        </a:cubicBezTo>
                        <a:cubicBezTo>
                          <a:pt x="741307" y="309322"/>
                          <a:pt x="619410" y="249098"/>
                          <a:pt x="494402" y="268423"/>
                        </a:cubicBezTo>
                        <a:cubicBezTo>
                          <a:pt x="369394" y="287748"/>
                          <a:pt x="101496" y="257709"/>
                          <a:pt x="0" y="268423"/>
                        </a:cubicBezTo>
                        <a:cubicBezTo>
                          <a:pt x="-28139" y="194859"/>
                          <a:pt x="16606" y="83969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1" name="Image 30">
            <a:extLst>
              <a:ext uri="{FF2B5EF4-FFF2-40B4-BE49-F238E27FC236}">
                <a16:creationId xmlns:a16="http://schemas.microsoft.com/office/drawing/2014/main" id="{1B92B662-540F-49FD-88AF-5E11F20C2C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45735" y="5004978"/>
            <a:ext cx="3064280" cy="1700622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93380F13-9BD1-409B-9BB2-6C1E9A722F49}"/>
              </a:ext>
            </a:extLst>
          </p:cNvPr>
          <p:cNvSpPr/>
          <p:nvPr/>
        </p:nvSpPr>
        <p:spPr>
          <a:xfrm>
            <a:off x="3843057" y="2888676"/>
            <a:ext cx="820622" cy="309383"/>
          </a:xfrm>
          <a:prstGeom prst="rect">
            <a:avLst/>
          </a:prstGeom>
          <a:solidFill>
            <a:srgbClr val="FFC000">
              <a:alpha val="32000"/>
            </a:srgbClr>
          </a:solidFill>
          <a:ln>
            <a:prstDash val="dash"/>
            <a:extLst>
              <a:ext uri="{C807C97D-BFC1-408E-A445-0C87EB9F89A2}">
                <ask:lineSketchStyleProps xmlns:ask="http://schemas.microsoft.com/office/drawing/2018/sketchyshapes" sd="3706926935">
                  <a:custGeom>
                    <a:avLst/>
                    <a:gdLst>
                      <a:gd name="connsiteX0" fmla="*/ 0 w 4299144"/>
                      <a:gd name="connsiteY0" fmla="*/ 0 h 268423"/>
                      <a:gd name="connsiteX1" fmla="*/ 623376 w 4299144"/>
                      <a:gd name="connsiteY1" fmla="*/ 0 h 268423"/>
                      <a:gd name="connsiteX2" fmla="*/ 1246752 w 4299144"/>
                      <a:gd name="connsiteY2" fmla="*/ 0 h 268423"/>
                      <a:gd name="connsiteX3" fmla="*/ 1827136 w 4299144"/>
                      <a:gd name="connsiteY3" fmla="*/ 0 h 268423"/>
                      <a:gd name="connsiteX4" fmla="*/ 2364529 w 4299144"/>
                      <a:gd name="connsiteY4" fmla="*/ 0 h 268423"/>
                      <a:gd name="connsiteX5" fmla="*/ 2815939 w 4299144"/>
                      <a:gd name="connsiteY5" fmla="*/ 0 h 268423"/>
                      <a:gd name="connsiteX6" fmla="*/ 3267349 w 4299144"/>
                      <a:gd name="connsiteY6" fmla="*/ 0 h 268423"/>
                      <a:gd name="connsiteX7" fmla="*/ 3718760 w 4299144"/>
                      <a:gd name="connsiteY7" fmla="*/ 0 h 268423"/>
                      <a:gd name="connsiteX8" fmla="*/ 4299144 w 4299144"/>
                      <a:gd name="connsiteY8" fmla="*/ 0 h 268423"/>
                      <a:gd name="connsiteX9" fmla="*/ 4299144 w 4299144"/>
                      <a:gd name="connsiteY9" fmla="*/ 268423 h 268423"/>
                      <a:gd name="connsiteX10" fmla="*/ 3890725 w 4299144"/>
                      <a:gd name="connsiteY10" fmla="*/ 268423 h 268423"/>
                      <a:gd name="connsiteX11" fmla="*/ 3267349 w 4299144"/>
                      <a:gd name="connsiteY11" fmla="*/ 268423 h 268423"/>
                      <a:gd name="connsiteX12" fmla="*/ 2815939 w 4299144"/>
                      <a:gd name="connsiteY12" fmla="*/ 268423 h 268423"/>
                      <a:gd name="connsiteX13" fmla="*/ 2192563 w 4299144"/>
                      <a:gd name="connsiteY13" fmla="*/ 268423 h 268423"/>
                      <a:gd name="connsiteX14" fmla="*/ 1569188 w 4299144"/>
                      <a:gd name="connsiteY14" fmla="*/ 268423 h 268423"/>
                      <a:gd name="connsiteX15" fmla="*/ 988803 w 4299144"/>
                      <a:gd name="connsiteY15" fmla="*/ 268423 h 268423"/>
                      <a:gd name="connsiteX16" fmla="*/ 494402 w 4299144"/>
                      <a:gd name="connsiteY16" fmla="*/ 268423 h 268423"/>
                      <a:gd name="connsiteX17" fmla="*/ 0 w 4299144"/>
                      <a:gd name="connsiteY17" fmla="*/ 268423 h 268423"/>
                      <a:gd name="connsiteX18" fmla="*/ 0 w 4299144"/>
                      <a:gd name="connsiteY18" fmla="*/ 0 h 2684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4299144" h="268423" extrusionOk="0">
                        <a:moveTo>
                          <a:pt x="0" y="0"/>
                        </a:moveTo>
                        <a:cubicBezTo>
                          <a:pt x="153659" y="-16258"/>
                          <a:pt x="481209" y="43038"/>
                          <a:pt x="623376" y="0"/>
                        </a:cubicBezTo>
                        <a:cubicBezTo>
                          <a:pt x="765543" y="-43038"/>
                          <a:pt x="1071117" y="38865"/>
                          <a:pt x="1246752" y="0"/>
                        </a:cubicBezTo>
                        <a:cubicBezTo>
                          <a:pt x="1422387" y="-38865"/>
                          <a:pt x="1568952" y="26977"/>
                          <a:pt x="1827136" y="0"/>
                        </a:cubicBezTo>
                        <a:cubicBezTo>
                          <a:pt x="2085320" y="-26977"/>
                          <a:pt x="2254620" y="39455"/>
                          <a:pt x="2364529" y="0"/>
                        </a:cubicBezTo>
                        <a:cubicBezTo>
                          <a:pt x="2474438" y="-39455"/>
                          <a:pt x="2721821" y="38867"/>
                          <a:pt x="2815939" y="0"/>
                        </a:cubicBezTo>
                        <a:cubicBezTo>
                          <a:pt x="2910057" y="-38867"/>
                          <a:pt x="3130872" y="9821"/>
                          <a:pt x="3267349" y="0"/>
                        </a:cubicBezTo>
                        <a:cubicBezTo>
                          <a:pt x="3403826" y="-9821"/>
                          <a:pt x="3554288" y="18991"/>
                          <a:pt x="3718760" y="0"/>
                        </a:cubicBezTo>
                        <a:cubicBezTo>
                          <a:pt x="3883232" y="-18991"/>
                          <a:pt x="4101439" y="67016"/>
                          <a:pt x="4299144" y="0"/>
                        </a:cubicBezTo>
                        <a:cubicBezTo>
                          <a:pt x="4325199" y="109331"/>
                          <a:pt x="4292654" y="163955"/>
                          <a:pt x="4299144" y="268423"/>
                        </a:cubicBezTo>
                        <a:cubicBezTo>
                          <a:pt x="4144663" y="291460"/>
                          <a:pt x="4048627" y="254926"/>
                          <a:pt x="3890725" y="268423"/>
                        </a:cubicBezTo>
                        <a:cubicBezTo>
                          <a:pt x="3732823" y="281920"/>
                          <a:pt x="3452494" y="211363"/>
                          <a:pt x="3267349" y="268423"/>
                        </a:cubicBezTo>
                        <a:cubicBezTo>
                          <a:pt x="3082204" y="325483"/>
                          <a:pt x="2949192" y="242886"/>
                          <a:pt x="2815939" y="268423"/>
                        </a:cubicBezTo>
                        <a:cubicBezTo>
                          <a:pt x="2682686" y="293960"/>
                          <a:pt x="2448884" y="206716"/>
                          <a:pt x="2192563" y="268423"/>
                        </a:cubicBezTo>
                        <a:cubicBezTo>
                          <a:pt x="1936242" y="330130"/>
                          <a:pt x="1812936" y="217430"/>
                          <a:pt x="1569188" y="268423"/>
                        </a:cubicBezTo>
                        <a:cubicBezTo>
                          <a:pt x="1325440" y="319416"/>
                          <a:pt x="1236300" y="227524"/>
                          <a:pt x="988803" y="268423"/>
                        </a:cubicBezTo>
                        <a:cubicBezTo>
                          <a:pt x="741307" y="309322"/>
                          <a:pt x="619410" y="249098"/>
                          <a:pt x="494402" y="268423"/>
                        </a:cubicBezTo>
                        <a:cubicBezTo>
                          <a:pt x="369394" y="287748"/>
                          <a:pt x="101496" y="257709"/>
                          <a:pt x="0" y="268423"/>
                        </a:cubicBezTo>
                        <a:cubicBezTo>
                          <a:pt x="-28139" y="194859"/>
                          <a:pt x="16606" y="83969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A9635D5-11D5-49E8-9BDF-CD6667F74F5D}"/>
              </a:ext>
            </a:extLst>
          </p:cNvPr>
          <p:cNvSpPr/>
          <p:nvPr/>
        </p:nvSpPr>
        <p:spPr>
          <a:xfrm>
            <a:off x="7244255" y="2892138"/>
            <a:ext cx="1922431" cy="309383"/>
          </a:xfrm>
          <a:prstGeom prst="rect">
            <a:avLst/>
          </a:prstGeom>
          <a:solidFill>
            <a:srgbClr val="FFC000">
              <a:alpha val="32000"/>
            </a:srgbClr>
          </a:solidFill>
          <a:ln>
            <a:prstDash val="dash"/>
            <a:extLst>
              <a:ext uri="{C807C97D-BFC1-408E-A445-0C87EB9F89A2}">
                <ask:lineSketchStyleProps xmlns:ask="http://schemas.microsoft.com/office/drawing/2018/sketchyshapes" sd="3706926935">
                  <a:custGeom>
                    <a:avLst/>
                    <a:gdLst>
                      <a:gd name="connsiteX0" fmla="*/ 0 w 4299144"/>
                      <a:gd name="connsiteY0" fmla="*/ 0 h 268423"/>
                      <a:gd name="connsiteX1" fmla="*/ 623376 w 4299144"/>
                      <a:gd name="connsiteY1" fmla="*/ 0 h 268423"/>
                      <a:gd name="connsiteX2" fmla="*/ 1246752 w 4299144"/>
                      <a:gd name="connsiteY2" fmla="*/ 0 h 268423"/>
                      <a:gd name="connsiteX3" fmla="*/ 1827136 w 4299144"/>
                      <a:gd name="connsiteY3" fmla="*/ 0 h 268423"/>
                      <a:gd name="connsiteX4" fmla="*/ 2364529 w 4299144"/>
                      <a:gd name="connsiteY4" fmla="*/ 0 h 268423"/>
                      <a:gd name="connsiteX5" fmla="*/ 2815939 w 4299144"/>
                      <a:gd name="connsiteY5" fmla="*/ 0 h 268423"/>
                      <a:gd name="connsiteX6" fmla="*/ 3267349 w 4299144"/>
                      <a:gd name="connsiteY6" fmla="*/ 0 h 268423"/>
                      <a:gd name="connsiteX7" fmla="*/ 3718760 w 4299144"/>
                      <a:gd name="connsiteY7" fmla="*/ 0 h 268423"/>
                      <a:gd name="connsiteX8" fmla="*/ 4299144 w 4299144"/>
                      <a:gd name="connsiteY8" fmla="*/ 0 h 268423"/>
                      <a:gd name="connsiteX9" fmla="*/ 4299144 w 4299144"/>
                      <a:gd name="connsiteY9" fmla="*/ 268423 h 268423"/>
                      <a:gd name="connsiteX10" fmla="*/ 3890725 w 4299144"/>
                      <a:gd name="connsiteY10" fmla="*/ 268423 h 268423"/>
                      <a:gd name="connsiteX11" fmla="*/ 3267349 w 4299144"/>
                      <a:gd name="connsiteY11" fmla="*/ 268423 h 268423"/>
                      <a:gd name="connsiteX12" fmla="*/ 2815939 w 4299144"/>
                      <a:gd name="connsiteY12" fmla="*/ 268423 h 268423"/>
                      <a:gd name="connsiteX13" fmla="*/ 2192563 w 4299144"/>
                      <a:gd name="connsiteY13" fmla="*/ 268423 h 268423"/>
                      <a:gd name="connsiteX14" fmla="*/ 1569188 w 4299144"/>
                      <a:gd name="connsiteY14" fmla="*/ 268423 h 268423"/>
                      <a:gd name="connsiteX15" fmla="*/ 988803 w 4299144"/>
                      <a:gd name="connsiteY15" fmla="*/ 268423 h 268423"/>
                      <a:gd name="connsiteX16" fmla="*/ 494402 w 4299144"/>
                      <a:gd name="connsiteY16" fmla="*/ 268423 h 268423"/>
                      <a:gd name="connsiteX17" fmla="*/ 0 w 4299144"/>
                      <a:gd name="connsiteY17" fmla="*/ 268423 h 268423"/>
                      <a:gd name="connsiteX18" fmla="*/ 0 w 4299144"/>
                      <a:gd name="connsiteY18" fmla="*/ 0 h 2684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4299144" h="268423" extrusionOk="0">
                        <a:moveTo>
                          <a:pt x="0" y="0"/>
                        </a:moveTo>
                        <a:cubicBezTo>
                          <a:pt x="153659" y="-16258"/>
                          <a:pt x="481209" y="43038"/>
                          <a:pt x="623376" y="0"/>
                        </a:cubicBezTo>
                        <a:cubicBezTo>
                          <a:pt x="765543" y="-43038"/>
                          <a:pt x="1071117" y="38865"/>
                          <a:pt x="1246752" y="0"/>
                        </a:cubicBezTo>
                        <a:cubicBezTo>
                          <a:pt x="1422387" y="-38865"/>
                          <a:pt x="1568952" y="26977"/>
                          <a:pt x="1827136" y="0"/>
                        </a:cubicBezTo>
                        <a:cubicBezTo>
                          <a:pt x="2085320" y="-26977"/>
                          <a:pt x="2254620" y="39455"/>
                          <a:pt x="2364529" y="0"/>
                        </a:cubicBezTo>
                        <a:cubicBezTo>
                          <a:pt x="2474438" y="-39455"/>
                          <a:pt x="2721821" y="38867"/>
                          <a:pt x="2815939" y="0"/>
                        </a:cubicBezTo>
                        <a:cubicBezTo>
                          <a:pt x="2910057" y="-38867"/>
                          <a:pt x="3130872" y="9821"/>
                          <a:pt x="3267349" y="0"/>
                        </a:cubicBezTo>
                        <a:cubicBezTo>
                          <a:pt x="3403826" y="-9821"/>
                          <a:pt x="3554288" y="18991"/>
                          <a:pt x="3718760" y="0"/>
                        </a:cubicBezTo>
                        <a:cubicBezTo>
                          <a:pt x="3883232" y="-18991"/>
                          <a:pt x="4101439" y="67016"/>
                          <a:pt x="4299144" y="0"/>
                        </a:cubicBezTo>
                        <a:cubicBezTo>
                          <a:pt x="4325199" y="109331"/>
                          <a:pt x="4292654" y="163955"/>
                          <a:pt x="4299144" y="268423"/>
                        </a:cubicBezTo>
                        <a:cubicBezTo>
                          <a:pt x="4144663" y="291460"/>
                          <a:pt x="4048627" y="254926"/>
                          <a:pt x="3890725" y="268423"/>
                        </a:cubicBezTo>
                        <a:cubicBezTo>
                          <a:pt x="3732823" y="281920"/>
                          <a:pt x="3452494" y="211363"/>
                          <a:pt x="3267349" y="268423"/>
                        </a:cubicBezTo>
                        <a:cubicBezTo>
                          <a:pt x="3082204" y="325483"/>
                          <a:pt x="2949192" y="242886"/>
                          <a:pt x="2815939" y="268423"/>
                        </a:cubicBezTo>
                        <a:cubicBezTo>
                          <a:pt x="2682686" y="293960"/>
                          <a:pt x="2448884" y="206716"/>
                          <a:pt x="2192563" y="268423"/>
                        </a:cubicBezTo>
                        <a:cubicBezTo>
                          <a:pt x="1936242" y="330130"/>
                          <a:pt x="1812936" y="217430"/>
                          <a:pt x="1569188" y="268423"/>
                        </a:cubicBezTo>
                        <a:cubicBezTo>
                          <a:pt x="1325440" y="319416"/>
                          <a:pt x="1236300" y="227524"/>
                          <a:pt x="988803" y="268423"/>
                        </a:cubicBezTo>
                        <a:cubicBezTo>
                          <a:pt x="741307" y="309322"/>
                          <a:pt x="619410" y="249098"/>
                          <a:pt x="494402" y="268423"/>
                        </a:cubicBezTo>
                        <a:cubicBezTo>
                          <a:pt x="369394" y="287748"/>
                          <a:pt x="101496" y="257709"/>
                          <a:pt x="0" y="268423"/>
                        </a:cubicBezTo>
                        <a:cubicBezTo>
                          <a:pt x="-28139" y="194859"/>
                          <a:pt x="16606" y="83969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4" name="Espace réservé du contenu 2">
            <a:extLst>
              <a:ext uri="{FF2B5EF4-FFF2-40B4-BE49-F238E27FC236}">
                <a16:creationId xmlns:a16="http://schemas.microsoft.com/office/drawing/2014/main" id="{395F6608-6C70-40BB-852D-4384C831E5D7}"/>
              </a:ext>
            </a:extLst>
          </p:cNvPr>
          <p:cNvSpPr txBox="1">
            <a:spLocks/>
          </p:cNvSpPr>
          <p:nvPr/>
        </p:nvSpPr>
        <p:spPr bwMode="gray">
          <a:xfrm>
            <a:off x="6953969" y="926407"/>
            <a:ext cx="1194771" cy="496258"/>
          </a:xfrm>
          <a:prstGeom prst="rect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36000" tIns="36000" rIns="36000" bIns="0" rtlCol="0" anchor="t" anchorCtr="0">
            <a:noAutofit/>
          </a:bodyPr>
          <a:lstStyle>
            <a:defPPr>
              <a:defRPr lang="fr-FR"/>
            </a:defPPr>
            <a:lvl1pPr marL="317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/>
            </a:lvl2pPr>
            <a:lvl3pPr marL="270000" indent="-270000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2"/>
              </a:buBlip>
              <a:defRPr sz="1400" b="1" baseline="0"/>
            </a:lvl3pPr>
            <a:lvl4pPr marL="2700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/>
            </a:lvl4pPr>
            <a:lvl5pPr marL="719138" indent="-269875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/>
            </a:lvl5pPr>
            <a:lvl6pPr marL="1081088" indent="-179388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fr-FR" sz="1000">
                <a:solidFill>
                  <a:schemeClr val="accent2"/>
                </a:solidFill>
              </a:rPr>
              <a:t>Eponges AMIC</a:t>
            </a:r>
          </a:p>
          <a:p>
            <a:r>
              <a:rPr lang="fr-FR" sz="1000">
                <a:solidFill>
                  <a:schemeClr val="accent2"/>
                </a:solidFill>
              </a:rPr>
              <a:t>qualifiée</a:t>
            </a:r>
          </a:p>
        </p:txBody>
      </p:sp>
      <p:cxnSp>
        <p:nvCxnSpPr>
          <p:cNvPr id="35" name="Connecteur droit avec flèche 34">
            <a:extLst>
              <a:ext uri="{FF2B5EF4-FFF2-40B4-BE49-F238E27FC236}">
                <a16:creationId xmlns:a16="http://schemas.microsoft.com/office/drawing/2014/main" id="{57B1E007-B901-4469-86F8-9BFA761370F6}"/>
              </a:ext>
            </a:extLst>
          </p:cNvPr>
          <p:cNvCxnSpPr>
            <a:cxnSpLocks/>
            <a:stCxn id="34" idx="2"/>
            <a:endCxn id="33" idx="0"/>
          </p:cNvCxnSpPr>
          <p:nvPr/>
        </p:nvCxnSpPr>
        <p:spPr>
          <a:xfrm>
            <a:off x="7551355" y="1422665"/>
            <a:ext cx="654116" cy="1469473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40" name="Flèche : pentagone 39">
            <a:extLst>
              <a:ext uri="{FF2B5EF4-FFF2-40B4-BE49-F238E27FC236}">
                <a16:creationId xmlns:a16="http://schemas.microsoft.com/office/drawing/2014/main" id="{2F3008FC-3FDB-45EE-B06B-5199508E29EC}"/>
              </a:ext>
            </a:extLst>
          </p:cNvPr>
          <p:cNvSpPr/>
          <p:nvPr/>
        </p:nvSpPr>
        <p:spPr>
          <a:xfrm>
            <a:off x="4282088" y="1028700"/>
            <a:ext cx="2615150" cy="367509"/>
          </a:xfrm>
          <a:prstGeom prst="homePlate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>
                <a:solidFill>
                  <a:schemeClr val="tx1"/>
                </a:solidFill>
              </a:rPr>
              <a:t>Qualification Eponges AMIC </a:t>
            </a:r>
          </a:p>
          <a:p>
            <a:pPr algn="ctr"/>
            <a:r>
              <a:rPr lang="fr-FR" sz="1100">
                <a:solidFill>
                  <a:schemeClr val="tx1"/>
                </a:solidFill>
              </a:rPr>
              <a:t>(Lingot &amp; Billette)</a:t>
            </a:r>
          </a:p>
        </p:txBody>
      </p:sp>
      <p:sp>
        <p:nvSpPr>
          <p:cNvPr id="36" name="Espace réservé du pied de page 5">
            <a:extLst>
              <a:ext uri="{FF2B5EF4-FFF2-40B4-BE49-F238E27FC236}">
                <a16:creationId xmlns:a16="http://schemas.microsoft.com/office/drawing/2014/main" id="{7030E338-6577-443F-9272-E6319A5278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959624" y="6143914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</p:spTree>
    <p:extLst>
      <p:ext uri="{BB962C8B-B14F-4D97-AF65-F5344CB8AC3E}">
        <p14:creationId xmlns:p14="http://schemas.microsoft.com/office/powerpoint/2010/main" val="26997683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e la date 4">
            <a:extLst>
              <a:ext uri="{FF2B5EF4-FFF2-40B4-BE49-F238E27FC236}">
                <a16:creationId xmlns:a16="http://schemas.microsoft.com/office/drawing/2014/main" id="{5D1CFB6E-027E-4111-9D67-FF41DE3ABC3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0" y="6678000"/>
            <a:ext cx="180000" cy="180000"/>
          </a:xfrm>
        </p:spPr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8D57CE2-6B10-4459-B3C9-18BCB6E28545}"/>
              </a:ext>
            </a:extLst>
          </p:cNvPr>
          <p:cNvSpPr txBox="1">
            <a:spLocks/>
          </p:cNvSpPr>
          <p:nvPr/>
        </p:nvSpPr>
        <p:spPr bwMode="gray">
          <a:xfrm>
            <a:off x="692400" y="152400"/>
            <a:ext cx="8064000" cy="6773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2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/>
          </a:p>
        </p:txBody>
      </p:sp>
      <p:sp>
        <p:nvSpPr>
          <p:cNvPr id="26" name="Espace réservé du numéro de diapositive 6">
            <a:extLst>
              <a:ext uri="{FF2B5EF4-FFF2-40B4-BE49-F238E27FC236}">
                <a16:creationId xmlns:a16="http://schemas.microsoft.com/office/drawing/2014/main" id="{70EF580A-86B3-4C73-A4D6-CCF9AEC84E22}"/>
              </a:ext>
            </a:extLst>
          </p:cNvPr>
          <p:cNvSpPr txBox="1">
            <a:spLocks/>
          </p:cNvSpPr>
          <p:nvPr/>
        </p:nvSpPr>
        <p:spPr bwMode="gray">
          <a:xfrm>
            <a:off x="653733" y="6166379"/>
            <a:ext cx="288033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lnSpc>
                <a:spcPct val="90000"/>
              </a:lnSpc>
              <a:defRPr sz="9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3122C9-A0B9-462F-8757-0847AD287B63}" type="slidenum">
              <a:rPr lang="fr-FR" dirty="0"/>
              <a:pPr/>
              <a:t>6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CAE669CA-8E3D-48F9-A509-F08EAA70F1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432" y="-207264"/>
            <a:ext cx="8064000" cy="829737"/>
          </a:xfrm>
        </p:spPr>
        <p:txBody>
          <a:bodyPr/>
          <a:lstStyle/>
          <a:p>
            <a:r>
              <a:rPr lang="fr-FR"/>
              <a:t>Projet </a:t>
            </a:r>
            <a:r>
              <a:rPr lang="fr-FR" err="1"/>
              <a:t>EcoBoost</a:t>
            </a:r>
            <a:r>
              <a:rPr lang="fr-FR"/>
              <a:t> </a:t>
            </a:r>
            <a:r>
              <a:rPr lang="fr-FR" sz="1800" err="1">
                <a:solidFill>
                  <a:srgbClr val="00B050"/>
                </a:solidFill>
              </a:rPr>
              <a:t>Niv</a:t>
            </a:r>
            <a:r>
              <a:rPr lang="fr-FR" sz="1800">
                <a:solidFill>
                  <a:srgbClr val="00B050"/>
                </a:solidFill>
              </a:rPr>
              <a:t> 1</a:t>
            </a:r>
            <a:br>
              <a:rPr lang="fr-FR">
                <a:solidFill>
                  <a:srgbClr val="00B050"/>
                </a:solidFill>
              </a:rPr>
            </a:br>
            <a:r>
              <a:rPr lang="fr-FR" sz="2000">
                <a:solidFill>
                  <a:schemeClr val="tx1"/>
                </a:solidFill>
              </a:rPr>
              <a:t>Augmentation de Capacité EcoTitanium</a:t>
            </a:r>
            <a:endParaRPr lang="fr-FR">
              <a:solidFill>
                <a:schemeClr val="tx1"/>
              </a:solidFill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F8274DC9-A605-4E0A-804B-D6FFD8BB309C}"/>
              </a:ext>
            </a:extLst>
          </p:cNvPr>
          <p:cNvSpPr txBox="1"/>
          <p:nvPr/>
        </p:nvSpPr>
        <p:spPr>
          <a:xfrm>
            <a:off x="7947909" y="74189"/>
            <a:ext cx="1082750" cy="36933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900">
                <a:solidFill>
                  <a:schemeClr val="tx2"/>
                </a:solidFill>
              </a:rPr>
              <a:t>Données</a:t>
            </a:r>
          </a:p>
          <a:p>
            <a:pPr algn="ctr"/>
            <a:r>
              <a:rPr lang="fr-FR" sz="900">
                <a:solidFill>
                  <a:schemeClr val="tx2"/>
                </a:solidFill>
              </a:rPr>
              <a:t>PDP S7</a:t>
            </a:r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FBEBD3CF-0A0E-4F4E-8A76-BC458D24853C}"/>
              </a:ext>
            </a:extLst>
          </p:cNvPr>
          <p:cNvSpPr txBox="1">
            <a:spLocks/>
          </p:cNvSpPr>
          <p:nvPr/>
        </p:nvSpPr>
        <p:spPr bwMode="gray">
          <a:xfrm>
            <a:off x="1581151" y="4366045"/>
            <a:ext cx="4112513" cy="4135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36000" tIns="36000" rIns="36000" bIns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fr-FR" sz="1200">
                <a:solidFill>
                  <a:schemeClr val="tx1"/>
                </a:solidFill>
              </a:rPr>
              <a:t>Recrutement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2786595-73E2-474E-9BAD-3E7BF71A41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8897" y="1035231"/>
            <a:ext cx="8141762" cy="1411062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F63459DD-CC3A-4CFE-A29E-17645950CD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8897" y="2501116"/>
            <a:ext cx="8141762" cy="1530307"/>
          </a:xfrm>
          <a:prstGeom prst="rect">
            <a:avLst/>
          </a:prstGeom>
        </p:spPr>
      </p:pic>
      <p:sp>
        <p:nvSpPr>
          <p:cNvPr id="15" name="Flèche : courbe vers la droite 14">
            <a:extLst>
              <a:ext uri="{FF2B5EF4-FFF2-40B4-BE49-F238E27FC236}">
                <a16:creationId xmlns:a16="http://schemas.microsoft.com/office/drawing/2014/main" id="{0E768EBA-DB94-444E-9D86-313430D14FE7}"/>
              </a:ext>
            </a:extLst>
          </p:cNvPr>
          <p:cNvSpPr/>
          <p:nvPr/>
        </p:nvSpPr>
        <p:spPr>
          <a:xfrm>
            <a:off x="113341" y="1882393"/>
            <a:ext cx="579995" cy="1708220"/>
          </a:xfrm>
          <a:prstGeom prst="curved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16" name="Organigramme : Décision 15">
            <a:extLst>
              <a:ext uri="{FF2B5EF4-FFF2-40B4-BE49-F238E27FC236}">
                <a16:creationId xmlns:a16="http://schemas.microsoft.com/office/drawing/2014/main" id="{7158DEDC-1225-44B1-AFEE-5EA09B7A8E9D}"/>
              </a:ext>
            </a:extLst>
          </p:cNvPr>
          <p:cNvSpPr/>
          <p:nvPr/>
        </p:nvSpPr>
        <p:spPr>
          <a:xfrm>
            <a:off x="5364744" y="3235439"/>
            <a:ext cx="121920" cy="212954"/>
          </a:xfrm>
          <a:prstGeom prst="flowChartDecision">
            <a:avLst/>
          </a:prstGeom>
          <a:solidFill>
            <a:srgbClr val="BE1216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E437F942-6A8C-43B1-B6B0-0B05446D8A0E}"/>
              </a:ext>
            </a:extLst>
          </p:cNvPr>
          <p:cNvCxnSpPr>
            <a:stCxn id="16" idx="2"/>
          </p:cNvCxnSpPr>
          <p:nvPr/>
        </p:nvCxnSpPr>
        <p:spPr>
          <a:xfrm>
            <a:off x="5425704" y="3448393"/>
            <a:ext cx="0" cy="739546"/>
          </a:xfrm>
          <a:prstGeom prst="line">
            <a:avLst/>
          </a:prstGeom>
          <a:ln w="19050">
            <a:solidFill>
              <a:srgbClr val="CD4419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lèche : pentagone 17">
            <a:extLst>
              <a:ext uri="{FF2B5EF4-FFF2-40B4-BE49-F238E27FC236}">
                <a16:creationId xmlns:a16="http://schemas.microsoft.com/office/drawing/2014/main" id="{41DB6DAA-69CF-49D2-B7E6-5384600E6E6E}"/>
              </a:ext>
            </a:extLst>
          </p:cNvPr>
          <p:cNvSpPr/>
          <p:nvPr/>
        </p:nvSpPr>
        <p:spPr>
          <a:xfrm>
            <a:off x="5425704" y="4028690"/>
            <a:ext cx="3490656" cy="165475"/>
          </a:xfrm>
          <a:prstGeom prst="homePlate">
            <a:avLst>
              <a:gd name="adj" fmla="val 17548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100"/>
              <a:t>Campagne PAM de </a:t>
            </a:r>
            <a:r>
              <a:rPr lang="fr-FR" sz="1100" b="1">
                <a:solidFill>
                  <a:schemeClr val="accent2"/>
                </a:solidFill>
              </a:rPr>
              <a:t>10 EL </a:t>
            </a:r>
            <a:r>
              <a:rPr lang="fr-FR" sz="1100"/>
              <a:t>dès S21</a:t>
            </a:r>
          </a:p>
        </p:txBody>
      </p:sp>
      <p:sp>
        <p:nvSpPr>
          <p:cNvPr id="19" name="Espace réservé du contenu 2">
            <a:extLst>
              <a:ext uri="{FF2B5EF4-FFF2-40B4-BE49-F238E27FC236}">
                <a16:creationId xmlns:a16="http://schemas.microsoft.com/office/drawing/2014/main" id="{36481743-C338-4CA4-B5A3-077E738AF04C}"/>
              </a:ext>
            </a:extLst>
          </p:cNvPr>
          <p:cNvSpPr txBox="1">
            <a:spLocks/>
          </p:cNvSpPr>
          <p:nvPr/>
        </p:nvSpPr>
        <p:spPr bwMode="gray">
          <a:xfrm>
            <a:off x="1581151" y="4792727"/>
            <a:ext cx="4124705" cy="387637"/>
          </a:xfrm>
          <a:prstGeom prst="rect">
            <a:avLst/>
          </a:prstGeom>
          <a:ln w="9525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36000" tIns="36000" rIns="36000" bIns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fr-FR" sz="1200">
                <a:solidFill>
                  <a:schemeClr val="tx1"/>
                </a:solidFill>
              </a:rPr>
              <a:t>Informatique</a:t>
            </a:r>
          </a:p>
        </p:txBody>
      </p:sp>
      <p:sp>
        <p:nvSpPr>
          <p:cNvPr id="20" name="Espace réservé du contenu 2">
            <a:extLst>
              <a:ext uri="{FF2B5EF4-FFF2-40B4-BE49-F238E27FC236}">
                <a16:creationId xmlns:a16="http://schemas.microsoft.com/office/drawing/2014/main" id="{23F94373-C200-4FD9-A4FB-287DB16E75AF}"/>
              </a:ext>
            </a:extLst>
          </p:cNvPr>
          <p:cNvSpPr txBox="1">
            <a:spLocks/>
          </p:cNvSpPr>
          <p:nvPr/>
        </p:nvSpPr>
        <p:spPr bwMode="gray">
          <a:xfrm>
            <a:off x="1581151" y="5174844"/>
            <a:ext cx="4112513" cy="721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36000" tIns="36000" rIns="36000" bIns="0" rtlCol="0" anchor="ctr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fr-FR" sz="1200">
                <a:solidFill>
                  <a:schemeClr val="tx1"/>
                </a:solidFill>
              </a:rPr>
              <a:t>Mise à niveau</a:t>
            </a:r>
          </a:p>
          <a:p>
            <a:pPr>
              <a:spcAft>
                <a:spcPts val="0"/>
              </a:spcAft>
            </a:pPr>
            <a:r>
              <a:rPr lang="fr-FR" sz="1200">
                <a:solidFill>
                  <a:schemeClr val="tx1"/>
                </a:solidFill>
              </a:rPr>
              <a:t>installations</a:t>
            </a:r>
          </a:p>
        </p:txBody>
      </p:sp>
      <p:sp>
        <p:nvSpPr>
          <p:cNvPr id="21" name="Flèche : pentagone 20">
            <a:extLst>
              <a:ext uri="{FF2B5EF4-FFF2-40B4-BE49-F238E27FC236}">
                <a16:creationId xmlns:a16="http://schemas.microsoft.com/office/drawing/2014/main" id="{0010AF87-B813-4824-89EB-AB8E3AB6CF41}"/>
              </a:ext>
            </a:extLst>
          </p:cNvPr>
          <p:cNvSpPr/>
          <p:nvPr/>
        </p:nvSpPr>
        <p:spPr>
          <a:xfrm>
            <a:off x="3706359" y="4398767"/>
            <a:ext cx="1719346" cy="185711"/>
          </a:xfrm>
          <a:prstGeom prst="homePlate">
            <a:avLst>
              <a:gd name="adj" fmla="val 17548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sz="1000">
                <a:latin typeface="+mj-lt"/>
              </a:rPr>
              <a:t>+6 à + 9 ETP opérateurs</a:t>
            </a:r>
          </a:p>
        </p:txBody>
      </p:sp>
      <p:sp>
        <p:nvSpPr>
          <p:cNvPr id="22" name="Flèche : pentagone 21">
            <a:extLst>
              <a:ext uri="{FF2B5EF4-FFF2-40B4-BE49-F238E27FC236}">
                <a16:creationId xmlns:a16="http://schemas.microsoft.com/office/drawing/2014/main" id="{BB659CA5-267B-4D3B-A508-A05AA51B2915}"/>
              </a:ext>
            </a:extLst>
          </p:cNvPr>
          <p:cNvSpPr/>
          <p:nvPr/>
        </p:nvSpPr>
        <p:spPr>
          <a:xfrm>
            <a:off x="3706359" y="4815274"/>
            <a:ext cx="1658386" cy="329588"/>
          </a:xfrm>
          <a:prstGeom prst="homePlate">
            <a:avLst>
              <a:gd name="adj" fmla="val 17548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sz="1000">
                <a:effectLst/>
                <a:latin typeface="+mj-lt"/>
                <a:ea typeface="Times New Roman" panose="02020603050405020304" pitchFamily="18" charset="0"/>
              </a:rPr>
              <a:t>être capable de faire une charge massif en 24H</a:t>
            </a:r>
            <a:endParaRPr lang="fr-FR" sz="1000">
              <a:latin typeface="+mj-lt"/>
            </a:endParaRPr>
          </a:p>
        </p:txBody>
      </p:sp>
      <p:sp>
        <p:nvSpPr>
          <p:cNvPr id="24" name="Flèche : pentagone 23">
            <a:extLst>
              <a:ext uri="{FF2B5EF4-FFF2-40B4-BE49-F238E27FC236}">
                <a16:creationId xmlns:a16="http://schemas.microsoft.com/office/drawing/2014/main" id="{6CB28DC9-A6AD-4E73-BB44-BD83DEFF3A88}"/>
              </a:ext>
            </a:extLst>
          </p:cNvPr>
          <p:cNvSpPr/>
          <p:nvPr/>
        </p:nvSpPr>
        <p:spPr>
          <a:xfrm>
            <a:off x="3706359" y="5219396"/>
            <a:ext cx="1901962" cy="339043"/>
          </a:xfrm>
          <a:prstGeom prst="homePlate">
            <a:avLst>
              <a:gd name="adj" fmla="val 17548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r>
              <a:rPr lang="fr-FR" sz="800">
                <a:effectLst/>
                <a:latin typeface="+mj-lt"/>
                <a:ea typeface="Times New Roman" panose="02020603050405020304" pitchFamily="18" charset="0"/>
              </a:rPr>
              <a:t>rack pour stockage </a:t>
            </a:r>
            <a:r>
              <a:rPr lang="fr-FR" sz="800">
                <a:latin typeface="+mj-lt"/>
              </a:rPr>
              <a:t>40 futs (10 </a:t>
            </a:r>
            <a:r>
              <a:rPr lang="fr-FR" sz="800" err="1">
                <a:latin typeface="+mj-lt"/>
              </a:rPr>
              <a:t>kEUR</a:t>
            </a:r>
            <a:r>
              <a:rPr lang="fr-FR" sz="800">
                <a:latin typeface="+mj-lt"/>
              </a:rPr>
              <a:t>) + </a:t>
            </a:r>
            <a:r>
              <a:rPr lang="fr-FR" sz="800">
                <a:effectLst/>
                <a:latin typeface="+mj-lt"/>
                <a:ea typeface="Times New Roman" panose="02020603050405020304" pitchFamily="18" charset="0"/>
              </a:rPr>
              <a:t>8</a:t>
            </a:r>
            <a:r>
              <a:rPr lang="fr-FR" sz="800">
                <a:latin typeface="+mj-lt"/>
              </a:rPr>
              <a:t>0 futs inox (50 </a:t>
            </a:r>
            <a:r>
              <a:rPr lang="fr-FR" sz="800" err="1">
                <a:latin typeface="+mj-lt"/>
              </a:rPr>
              <a:t>kEUR</a:t>
            </a:r>
            <a:r>
              <a:rPr lang="fr-FR" sz="800">
                <a:latin typeface="+mj-lt"/>
              </a:rPr>
              <a:t>)</a:t>
            </a:r>
            <a:endParaRPr lang="fr-FR" sz="1200">
              <a:latin typeface="+mj-lt"/>
            </a:endParaRPr>
          </a:p>
        </p:txBody>
      </p:sp>
      <p:sp>
        <p:nvSpPr>
          <p:cNvPr id="25" name="Flèche : pentagone 24">
            <a:extLst>
              <a:ext uri="{FF2B5EF4-FFF2-40B4-BE49-F238E27FC236}">
                <a16:creationId xmlns:a16="http://schemas.microsoft.com/office/drawing/2014/main" id="{37A22255-CC73-4C4F-B43A-8B0FFA31AA17}"/>
              </a:ext>
            </a:extLst>
          </p:cNvPr>
          <p:cNvSpPr/>
          <p:nvPr/>
        </p:nvSpPr>
        <p:spPr>
          <a:xfrm>
            <a:off x="3706358" y="5597471"/>
            <a:ext cx="1589543" cy="196440"/>
          </a:xfrm>
          <a:prstGeom prst="homePlate">
            <a:avLst>
              <a:gd name="adj" fmla="val 17548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sz="1000">
                <a:latin typeface="+mj-lt"/>
              </a:rPr>
              <a:t>Hublot soufflage </a:t>
            </a:r>
            <a:r>
              <a:rPr lang="fr-FR" sz="1000" err="1">
                <a:latin typeface="+mj-lt"/>
              </a:rPr>
              <a:t>Helium</a:t>
            </a:r>
            <a:endParaRPr lang="fr-FR" sz="1000">
              <a:latin typeface="+mj-lt"/>
            </a:endParaRPr>
          </a:p>
        </p:txBody>
      </p:sp>
      <p:sp>
        <p:nvSpPr>
          <p:cNvPr id="27" name="Flèche : pentagone 26">
            <a:extLst>
              <a:ext uri="{FF2B5EF4-FFF2-40B4-BE49-F238E27FC236}">
                <a16:creationId xmlns:a16="http://schemas.microsoft.com/office/drawing/2014/main" id="{454C5C4A-4D3A-458A-A1DF-653C0E10C551}"/>
              </a:ext>
            </a:extLst>
          </p:cNvPr>
          <p:cNvSpPr/>
          <p:nvPr/>
        </p:nvSpPr>
        <p:spPr>
          <a:xfrm>
            <a:off x="3706359" y="4597212"/>
            <a:ext cx="1719346" cy="185711"/>
          </a:xfrm>
          <a:prstGeom prst="homePlate">
            <a:avLst>
              <a:gd name="adj" fmla="val 17548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sz="1000">
                <a:latin typeface="+mj-lt"/>
              </a:rPr>
              <a:t>+ ETP mainteneurs</a:t>
            </a:r>
          </a:p>
        </p:txBody>
      </p:sp>
      <p:sp>
        <p:nvSpPr>
          <p:cNvPr id="28" name="Espace réservé du contenu 2">
            <a:extLst>
              <a:ext uri="{FF2B5EF4-FFF2-40B4-BE49-F238E27FC236}">
                <a16:creationId xmlns:a16="http://schemas.microsoft.com/office/drawing/2014/main" id="{63534873-1017-43EB-B967-E32F81544946}"/>
              </a:ext>
            </a:extLst>
          </p:cNvPr>
          <p:cNvSpPr txBox="1">
            <a:spLocks/>
          </p:cNvSpPr>
          <p:nvPr/>
        </p:nvSpPr>
        <p:spPr bwMode="gray">
          <a:xfrm>
            <a:off x="6491309" y="113689"/>
            <a:ext cx="1082750" cy="64771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36000" tIns="36000" rIns="36000" bIns="0" rtlCol="0" anchor="ctr" anchorCtr="0">
            <a:noAutofit/>
          </a:bodyPr>
          <a:lstStyle>
            <a:defPPr>
              <a:defRPr lang="fr-FR"/>
            </a:defPPr>
            <a:lvl1pPr marL="3175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/>
            </a:lvl2pPr>
            <a:lvl3pPr marL="270000" indent="-270000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baseline="0"/>
            </a:lvl3pPr>
            <a:lvl4pPr marL="2700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/>
            </a:lvl4pPr>
            <a:lvl5pPr marL="719138" indent="-269875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/>
            </a:lvl5pPr>
            <a:lvl6pPr marL="1081088" indent="-179388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spcAft>
                <a:spcPts val="0"/>
              </a:spcAft>
            </a:pPr>
            <a:r>
              <a:rPr lang="fr-FR" sz="1400"/>
              <a:t>2022 :</a:t>
            </a:r>
            <a:r>
              <a:rPr lang="fr-FR" sz="1400">
                <a:solidFill>
                  <a:schemeClr val="accent2"/>
                </a:solidFill>
              </a:rPr>
              <a:t>+14%</a:t>
            </a:r>
          </a:p>
          <a:p>
            <a:pPr>
              <a:spcAft>
                <a:spcPts val="0"/>
              </a:spcAft>
            </a:pPr>
            <a:r>
              <a:rPr lang="fr-FR" sz="1400"/>
              <a:t>Q4 :   </a:t>
            </a:r>
            <a:r>
              <a:rPr lang="fr-FR" sz="1400">
                <a:solidFill>
                  <a:schemeClr val="accent2"/>
                </a:solidFill>
              </a:rPr>
              <a:t>+25%</a:t>
            </a:r>
            <a:endParaRPr lang="fr-FR" sz="1000"/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691E3915-6246-48F0-A3C8-B36637F37EAD}"/>
              </a:ext>
            </a:extLst>
          </p:cNvPr>
          <p:cNvSpPr txBox="1"/>
          <p:nvPr/>
        </p:nvSpPr>
        <p:spPr>
          <a:xfrm>
            <a:off x="474521" y="1066507"/>
            <a:ext cx="1082750" cy="36933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900">
                <a:solidFill>
                  <a:schemeClr val="tx2"/>
                </a:solidFill>
              </a:rPr>
              <a:t>Données</a:t>
            </a:r>
          </a:p>
          <a:p>
            <a:pPr algn="ctr"/>
            <a:r>
              <a:rPr lang="fr-FR" sz="900">
                <a:solidFill>
                  <a:schemeClr val="tx2"/>
                </a:solidFill>
              </a:rPr>
              <a:t>PDP S7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C388BE32-1F9A-43F7-8E55-0837A34746CB}"/>
              </a:ext>
            </a:extLst>
          </p:cNvPr>
          <p:cNvSpPr txBox="1"/>
          <p:nvPr/>
        </p:nvSpPr>
        <p:spPr>
          <a:xfrm>
            <a:off x="474521" y="2531623"/>
            <a:ext cx="1082750" cy="507831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900">
                <a:solidFill>
                  <a:schemeClr val="tx2"/>
                </a:solidFill>
              </a:rPr>
              <a:t>Données</a:t>
            </a:r>
          </a:p>
          <a:p>
            <a:pPr algn="ctr"/>
            <a:r>
              <a:rPr lang="fr-FR" sz="900">
                <a:solidFill>
                  <a:schemeClr val="tx2"/>
                </a:solidFill>
              </a:rPr>
              <a:t>PDP S7 + </a:t>
            </a:r>
          </a:p>
          <a:p>
            <a:pPr algn="ctr"/>
            <a:r>
              <a:rPr lang="fr-FR" sz="900">
                <a:solidFill>
                  <a:schemeClr val="tx2"/>
                </a:solidFill>
              </a:rPr>
              <a:t>Boost </a:t>
            </a:r>
            <a:r>
              <a:rPr lang="fr-FR" sz="900" b="1">
                <a:solidFill>
                  <a:srgbClr val="00B050"/>
                </a:solidFill>
              </a:rPr>
              <a:t>Niv1</a:t>
            </a:r>
          </a:p>
        </p:txBody>
      </p:sp>
      <p:sp>
        <p:nvSpPr>
          <p:cNvPr id="32" name="Espace réservé du pied de page 5">
            <a:extLst>
              <a:ext uri="{FF2B5EF4-FFF2-40B4-BE49-F238E27FC236}">
                <a16:creationId xmlns:a16="http://schemas.microsoft.com/office/drawing/2014/main" id="{4F8908BB-F765-461A-B976-1BE25C2F8A3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  <p:pic>
        <p:nvPicPr>
          <p:cNvPr id="33" name="Image 32">
            <a:extLst>
              <a:ext uri="{FF2B5EF4-FFF2-40B4-BE49-F238E27FC236}">
                <a16:creationId xmlns:a16="http://schemas.microsoft.com/office/drawing/2014/main" id="{A35B9F06-6437-478B-83D7-42B9C112AF8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55840" y="4328160"/>
            <a:ext cx="3337126" cy="157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8627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2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02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Titre de la présentation - 00/00/00     Classification : </a:t>
            </a:r>
          </a:p>
        </p:txBody>
      </p:sp>
      <p:sp>
        <p:nvSpPr>
          <p:cNvPr id="24" name="Espace réservé du texte 23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fr-FR"/>
              <a:t>Qualifications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4294967295"/>
          </p:nvPr>
        </p:nvSpPr>
        <p:spPr bwMode="gray">
          <a:xfrm>
            <a:off x="0" y="-11113"/>
            <a:ext cx="3576638" cy="1735138"/>
          </a:xfrm>
        </p:spPr>
        <p:txBody>
          <a:bodyPr/>
          <a:lstStyle/>
          <a:p>
            <a:r>
              <a:rPr lang="fr-FR"/>
              <a:t> 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3315584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0000" y="0"/>
            <a:ext cx="8064000" cy="567359"/>
          </a:xfrm>
        </p:spPr>
        <p:txBody>
          <a:bodyPr/>
          <a:lstStyle/>
          <a:p>
            <a:r>
              <a:rPr lang="fr-FR"/>
              <a:t>02- Qualification Eponges AMIC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8</a:t>
            </a:fld>
            <a:endParaRPr lang="fr-FR">
              <a:solidFill>
                <a:srgbClr val="FA6414"/>
              </a:solidFill>
            </a:endParaRPr>
          </a:p>
        </p:txBody>
      </p:sp>
      <p:sp>
        <p:nvSpPr>
          <p:cNvPr id="10" name="Espace réservé du pied de page 5"/>
          <p:cNvSpPr>
            <a:spLocks noGrp="1"/>
          </p:cNvSpPr>
          <p:nvPr>
            <p:ph type="ftr" sz="quarter" idx="15"/>
          </p:nvPr>
        </p:nvSpPr>
        <p:spPr>
          <a:xfrm>
            <a:off x="862088" y="6192682"/>
            <a:ext cx="3420000" cy="440684"/>
          </a:xfrm>
        </p:spPr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8" name="Espace réservé du contenu 10"/>
          <p:cNvSpPr txBox="1">
            <a:spLocks/>
          </p:cNvSpPr>
          <p:nvPr/>
        </p:nvSpPr>
        <p:spPr bwMode="gray">
          <a:xfrm>
            <a:off x="503548" y="637525"/>
            <a:ext cx="8459699" cy="58678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1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Tx/>
              <a:buBlip>
                <a:blip r:embed="rId3"/>
              </a:buBlip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7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&gt;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1088" indent="-179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just"/>
            <a:endParaRPr lang="fr-FR">
              <a:sym typeface="Wingdings" panose="05000000000000000000" pitchFamily="2" charset="2"/>
            </a:endParaRPr>
          </a:p>
        </p:txBody>
      </p:sp>
      <p:sp>
        <p:nvSpPr>
          <p:cNvPr id="15" name="Espace réservé du contenu 1">
            <a:extLst>
              <a:ext uri="{FF2B5EF4-FFF2-40B4-BE49-F238E27FC236}">
                <a16:creationId xmlns:a16="http://schemas.microsoft.com/office/drawing/2014/main" id="{E6382F22-0C09-4CF8-9ADC-380D73B49E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998999"/>
            <a:ext cx="8570384" cy="5193683"/>
          </a:xfrm>
        </p:spPr>
        <p:txBody>
          <a:bodyPr/>
          <a:lstStyle/>
          <a:p>
            <a:pPr marL="269875" lvl="2" indent="-269875" algn="just"/>
            <a:r>
              <a:rPr lang="fr-FR">
                <a:solidFill>
                  <a:srgbClr val="1A003B"/>
                </a:solidFill>
              </a:rPr>
              <a:t>Avancement plan de qualification :</a:t>
            </a:r>
          </a:p>
          <a:p>
            <a:pPr marL="555750" lvl="3" indent="-28575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Evaluation achat : conforme,</a:t>
            </a:r>
          </a:p>
          <a:p>
            <a:pPr marL="555750" lvl="3" indent="-28575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Chimie sur échantillon : conforme,</a:t>
            </a:r>
          </a:p>
          <a:p>
            <a:pPr marL="555750" lvl="3" indent="-28575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Audit sur site fin octobre : conforme,</a:t>
            </a:r>
          </a:p>
          <a:p>
            <a:pPr marL="555750" lvl="3" indent="-28575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Réalisation de 5 coulées pour finalité Airbus :</a:t>
            </a:r>
          </a:p>
          <a:p>
            <a:pPr marL="1004888" lvl="4" indent="-28575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Retard pris par Airbus/AMIC lié au prix et à sa « communication »,</a:t>
            </a:r>
          </a:p>
          <a:p>
            <a:pPr marL="1004888" lvl="4" indent="-28575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Prix affiché par Airbus : $ 6,5 / kg,</a:t>
            </a:r>
          </a:p>
          <a:p>
            <a:pPr marL="1004888" lvl="4" indent="-28575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fr-FR" err="1">
                <a:solidFill>
                  <a:srgbClr val="1A003B"/>
                </a:solidFill>
              </a:rPr>
              <a:t>MoA</a:t>
            </a:r>
            <a:r>
              <a:rPr lang="fr-FR">
                <a:solidFill>
                  <a:srgbClr val="1A003B"/>
                </a:solidFill>
              </a:rPr>
              <a:t> à signer,</a:t>
            </a:r>
          </a:p>
          <a:p>
            <a:pPr marL="1004888" lvl="4" indent="-28575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Livraison de 18 t attendues </a:t>
            </a:r>
            <a:r>
              <a:rPr lang="fr-FR" b="1">
                <a:solidFill>
                  <a:srgbClr val="0070C0"/>
                </a:solidFill>
              </a:rPr>
              <a:t>fin</a:t>
            </a:r>
            <a:r>
              <a:rPr lang="fr-FR">
                <a:solidFill>
                  <a:srgbClr val="1A003B"/>
                </a:solidFill>
              </a:rPr>
              <a:t> </a:t>
            </a:r>
            <a:r>
              <a:rPr lang="fr-FR" b="1">
                <a:solidFill>
                  <a:srgbClr val="0070C0"/>
                </a:solidFill>
              </a:rPr>
              <a:t>mars,</a:t>
            </a:r>
            <a:endParaRPr lang="fr-FR">
              <a:solidFill>
                <a:srgbClr val="1A003B"/>
              </a:solidFill>
              <a:sym typeface="Wingdings" panose="05000000000000000000" pitchFamily="2" charset="2"/>
            </a:endParaRPr>
          </a:p>
          <a:p>
            <a:pPr marL="1004888" lvl="4" indent="-28575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fr-FR">
                <a:solidFill>
                  <a:srgbClr val="1A003B"/>
                </a:solidFill>
                <a:sym typeface="Wingdings" panose="05000000000000000000" pitchFamily="2" charset="2"/>
              </a:rPr>
              <a:t>Elaboration prévue </a:t>
            </a:r>
            <a:r>
              <a:rPr lang="fr-FR" b="1">
                <a:solidFill>
                  <a:srgbClr val="0070C0"/>
                </a:solidFill>
                <a:sym typeface="Wingdings" panose="05000000000000000000" pitchFamily="2" charset="2"/>
              </a:rPr>
              <a:t>mi-avril</a:t>
            </a:r>
            <a:r>
              <a:rPr lang="fr-FR">
                <a:solidFill>
                  <a:srgbClr val="1A003B"/>
                </a:solidFill>
                <a:sym typeface="Wingdings" panose="05000000000000000000" pitchFamily="2" charset="2"/>
              </a:rPr>
              <a:t>.</a:t>
            </a:r>
          </a:p>
          <a:p>
            <a:pPr marL="1004888" lvl="4" indent="-28575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fr-FR">
                <a:solidFill>
                  <a:srgbClr val="1A003B"/>
                </a:solidFill>
                <a:sym typeface="Wingdings" panose="05000000000000000000" pitchFamily="2" charset="2"/>
              </a:rPr>
              <a:t>Transformation de ces 5 lingots en billettes :</a:t>
            </a:r>
          </a:p>
          <a:p>
            <a:pPr marL="1366838" lvl="5" indent="-285750" algn="just">
              <a:spcAft>
                <a:spcPts val="600"/>
              </a:spcAft>
            </a:pPr>
            <a:r>
              <a:rPr lang="fr-FR" sz="1200">
                <a:solidFill>
                  <a:srgbClr val="1A003B"/>
                </a:solidFill>
                <a:sym typeface="Wingdings" panose="05000000000000000000" pitchFamily="2" charset="2"/>
              </a:rPr>
              <a:t>2 lingots pour nouvelle référence </a:t>
            </a:r>
            <a:r>
              <a:rPr lang="fr-FR" sz="1200" err="1">
                <a:solidFill>
                  <a:srgbClr val="1A003B"/>
                </a:solidFill>
                <a:sym typeface="Wingdings" panose="05000000000000000000" pitchFamily="2" charset="2"/>
              </a:rPr>
              <a:t>GearBeam</a:t>
            </a:r>
            <a:r>
              <a:rPr lang="fr-FR" sz="1200">
                <a:solidFill>
                  <a:srgbClr val="1A003B"/>
                </a:solidFill>
                <a:sym typeface="Wingdings" panose="05000000000000000000" pitchFamily="2" charset="2"/>
              </a:rPr>
              <a:t> A350-900 </a:t>
            </a:r>
          </a:p>
          <a:p>
            <a:pPr marL="1366838" lvl="5" indent="-285750" algn="just">
              <a:spcAft>
                <a:spcPts val="600"/>
              </a:spcAft>
            </a:pPr>
            <a:r>
              <a:rPr lang="fr-FR" sz="1200">
                <a:solidFill>
                  <a:srgbClr val="1A003B"/>
                </a:solidFill>
                <a:sym typeface="Wingdings" panose="05000000000000000000" pitchFamily="2" charset="2"/>
              </a:rPr>
              <a:t>3 lingots pour programme A220</a:t>
            </a:r>
          </a:p>
          <a:p>
            <a:pPr marL="1004888" lvl="4" indent="-28575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fr-FR">
                <a:solidFill>
                  <a:srgbClr val="1A003B"/>
                </a:solidFill>
                <a:sym typeface="Wingdings" panose="05000000000000000000" pitchFamily="2" charset="2"/>
              </a:rPr>
              <a:t>Validation de la chimie sur plaquettes billettes.</a:t>
            </a:r>
          </a:p>
          <a:p>
            <a:pPr marL="555750" lvl="3" indent="-28575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fr-FR">
                <a:solidFill>
                  <a:srgbClr val="1A003B"/>
                </a:solidFill>
                <a:sym typeface="Wingdings" panose="05000000000000000000" pitchFamily="2" charset="2"/>
              </a:rPr>
              <a:t>Qualification fournisseur attendue </a:t>
            </a:r>
            <a:r>
              <a:rPr lang="fr-FR">
                <a:solidFill>
                  <a:srgbClr val="0070C0"/>
                </a:solidFill>
                <a:sym typeface="Wingdings" panose="05000000000000000000" pitchFamily="2" charset="2"/>
              </a:rPr>
              <a:t>fin septembre 2022</a:t>
            </a:r>
            <a:r>
              <a:rPr lang="fr-FR">
                <a:solidFill>
                  <a:srgbClr val="1A003B"/>
                </a:solidFill>
                <a:sym typeface="Wingdings" panose="05000000000000000000" pitchFamily="2" charset="2"/>
              </a:rPr>
              <a:t>.</a:t>
            </a:r>
            <a:endParaRPr lang="fr-FR">
              <a:solidFill>
                <a:srgbClr val="1A003B"/>
              </a:solidFill>
            </a:endParaRPr>
          </a:p>
          <a:p>
            <a:pPr marL="269875" lvl="2" indent="-269875" algn="just"/>
            <a:endParaRPr lang="fr-FR" sz="1000">
              <a:solidFill>
                <a:srgbClr val="1A003B"/>
              </a:solidFill>
              <a:cs typeface="Arial"/>
            </a:endParaRPr>
          </a:p>
          <a:p>
            <a:pPr marL="269875" lvl="2" indent="-269875" algn="just"/>
            <a:r>
              <a:rPr lang="fr-FR" b="0">
                <a:solidFill>
                  <a:srgbClr val="1A003B"/>
                </a:solidFill>
                <a:cs typeface="Arial"/>
              </a:rPr>
              <a:t>Action en cours auprès de Safran </a:t>
            </a:r>
            <a:r>
              <a:rPr lang="fr-FR" b="0">
                <a:solidFill>
                  <a:srgbClr val="1A003B"/>
                </a:solidFill>
                <a:cs typeface="Arial"/>
                <a:sym typeface="Wingdings" panose="05000000000000000000" pitchFamily="2" charset="2"/>
              </a:rPr>
              <a:t>pour activer la réalisation d’un audit commun Safran / EcoTitanium  finalité : qualifier ces éponges sur les productions Safran TA6V Standard.</a:t>
            </a:r>
            <a:endParaRPr lang="fr-FR" b="0">
              <a:solidFill>
                <a:srgbClr val="1A003B"/>
              </a:solidFill>
              <a:cs typeface="Arial"/>
            </a:endParaRPr>
          </a:p>
          <a:p>
            <a:endParaRPr lang="fr-FR" sz="1500"/>
          </a:p>
        </p:txBody>
      </p:sp>
    </p:spTree>
    <p:extLst>
      <p:ext uri="{BB962C8B-B14F-4D97-AF65-F5344CB8AC3E}">
        <p14:creationId xmlns:p14="http://schemas.microsoft.com/office/powerpoint/2010/main" val="11670923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EFBF6A0B-38DA-4CC4-90A8-9A408E07C2F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96"/>
          <a:stretch/>
        </p:blipFill>
        <p:spPr>
          <a:xfrm>
            <a:off x="6500493" y="6237312"/>
            <a:ext cx="1167851" cy="4722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re 6">
            <a:extLst>
              <a:ext uri="{FF2B5EF4-FFF2-40B4-BE49-F238E27FC236}">
                <a16:creationId xmlns:a16="http://schemas.microsoft.com/office/drawing/2014/main" id="{5A805900-5626-4C23-A9FB-B8AEF23B8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80" y="-318977"/>
            <a:ext cx="8064000" cy="829737"/>
          </a:xfrm>
        </p:spPr>
        <p:txBody>
          <a:bodyPr/>
          <a:lstStyle/>
          <a:p>
            <a:r>
              <a:rPr lang="fr-FR"/>
              <a:t>02- Qualification Premium </a:t>
            </a:r>
            <a:r>
              <a:rPr lang="fr-FR" err="1"/>
              <a:t>Quality</a:t>
            </a:r>
            <a:endParaRPr lang="fr-FR"/>
          </a:p>
        </p:txBody>
      </p:sp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D760A486-E42D-4A8F-BF70-498D1CA38E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088" y="657423"/>
            <a:ext cx="8570384" cy="5964131"/>
          </a:xfrm>
        </p:spPr>
        <p:txBody>
          <a:bodyPr/>
          <a:lstStyle/>
          <a:p>
            <a:pPr lvl="2" algn="just"/>
            <a:r>
              <a:rPr lang="fr-FR">
                <a:solidFill>
                  <a:srgbClr val="1A003B"/>
                </a:solidFill>
              </a:rPr>
              <a:t>Rappel : le lancement de cette qualification est soumise à une validation interne :</a:t>
            </a:r>
          </a:p>
          <a:p>
            <a:pPr marL="555750" lvl="3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Au delà de la poursuite de l’activité industrielle d’</a:t>
            </a:r>
            <a:r>
              <a:rPr lang="fr-FR" err="1">
                <a:solidFill>
                  <a:srgbClr val="1A003B"/>
                </a:solidFill>
              </a:rPr>
              <a:t>EcoTitanium</a:t>
            </a:r>
            <a:r>
              <a:rPr lang="fr-FR">
                <a:solidFill>
                  <a:srgbClr val="1A003B"/>
                </a:solidFill>
              </a:rPr>
              <a:t>, une validation de lancer cette qualification est à obtenir auprès de la DAHP. Un dossier financier sera présenté courant mars :</a:t>
            </a:r>
          </a:p>
          <a:p>
            <a:pPr marL="1004888" lvl="4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>
                <a:solidFill>
                  <a:srgbClr val="1A003B"/>
                </a:solidFill>
              </a:rPr>
              <a:t>Prise en compte la participation de GE, notamment sur les coûts de la coulée ensemencée,</a:t>
            </a:r>
          </a:p>
          <a:p>
            <a:pPr marL="1004888" lvl="4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>
                <a:solidFill>
                  <a:srgbClr val="1A003B"/>
                </a:solidFill>
              </a:rPr>
              <a:t>Une route industrielle en billettes. En effet Safran et GE n’ont pas encore validé la route industrielle, ni les timings.</a:t>
            </a:r>
            <a:endParaRPr lang="fr-FR" sz="1400">
              <a:solidFill>
                <a:srgbClr val="1A003B"/>
              </a:solidFill>
              <a:sym typeface="Wingdings" panose="05000000000000000000" pitchFamily="2" charset="2"/>
            </a:endParaRPr>
          </a:p>
          <a:p>
            <a:pPr lvl="2" algn="just"/>
            <a:endParaRPr lang="fr-FR">
              <a:solidFill>
                <a:srgbClr val="1A003B"/>
              </a:solidFill>
              <a:sym typeface="Wingdings" panose="05000000000000000000" pitchFamily="2" charset="2"/>
            </a:endParaRPr>
          </a:p>
          <a:p>
            <a:pPr lvl="2" algn="just"/>
            <a:r>
              <a:rPr lang="fr-FR">
                <a:solidFill>
                  <a:srgbClr val="1A003B"/>
                </a:solidFill>
                <a:sym typeface="Wingdings" panose="05000000000000000000" pitchFamily="2" charset="2"/>
              </a:rPr>
              <a:t>Participation de GE à la qualification :</a:t>
            </a:r>
          </a:p>
          <a:p>
            <a:pPr marL="555750" lvl="3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b="1" u="sng">
                <a:solidFill>
                  <a:srgbClr val="1A003B"/>
                </a:solidFill>
              </a:rPr>
              <a:t>GE exige que le pilotage du four plasma soit automatisé avant la coulée ensemencée </a:t>
            </a:r>
            <a:r>
              <a:rPr lang="fr-FR">
                <a:solidFill>
                  <a:srgbClr val="1A003B"/>
                </a:solidFill>
              </a:rPr>
              <a:t>: </a:t>
            </a:r>
          </a:p>
          <a:p>
            <a:pPr marL="1004888" lvl="4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>
                <a:solidFill>
                  <a:srgbClr val="1A003B"/>
                </a:solidFill>
              </a:rPr>
              <a:t>Début janvier GE a exprimé l’attente d’une automatisation poussée du four plasma,</a:t>
            </a:r>
          </a:p>
          <a:p>
            <a:pPr marL="1004888" lvl="4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>
                <a:solidFill>
                  <a:srgbClr val="1A003B"/>
                </a:solidFill>
              </a:rPr>
              <a:t>Fin janvier, après présentation de nos propositions d’automatisation, GE a confirmé quelles répondaient aux besoins.</a:t>
            </a:r>
          </a:p>
          <a:p>
            <a:pPr marL="1004888" lvl="4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>
                <a:solidFill>
                  <a:srgbClr val="1A003B"/>
                </a:solidFill>
              </a:rPr>
              <a:t>Ces évolution nécessite un automaticien dédié pendant 6 mois minimum : identification en cours.</a:t>
            </a:r>
            <a:endParaRPr lang="fr-FR" sz="1400">
              <a:solidFill>
                <a:srgbClr val="0070C0"/>
              </a:solidFill>
            </a:endParaRPr>
          </a:p>
          <a:p>
            <a:pPr marL="555750" lvl="3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Réception fin janvier de la note technique coulée ensemencée co-écrite par GE et Safran :</a:t>
            </a:r>
          </a:p>
          <a:p>
            <a:pPr marL="1004888" lvl="4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>
                <a:solidFill>
                  <a:srgbClr val="1A003B"/>
                </a:solidFill>
              </a:rPr>
              <a:t>Un travail de clarification est à faire auprès de GE et Safran pour bien cerner les attendues des 2 parties, notamment sur les référentiels associés.</a:t>
            </a:r>
          </a:p>
          <a:p>
            <a:pPr lvl="2" algn="just">
              <a:spcAft>
                <a:spcPts val="600"/>
              </a:spcAft>
            </a:pPr>
            <a:endParaRPr lang="fr-FR">
              <a:solidFill>
                <a:srgbClr val="1A003B"/>
              </a:solidFill>
              <a:sym typeface="Wingdings" panose="05000000000000000000" pitchFamily="2" charset="2"/>
            </a:endParaRPr>
          </a:p>
          <a:p>
            <a:pPr lvl="2" algn="just">
              <a:spcAft>
                <a:spcPts val="600"/>
              </a:spcAft>
            </a:pPr>
            <a:r>
              <a:rPr lang="fr-FR">
                <a:solidFill>
                  <a:srgbClr val="1A003B"/>
                </a:solidFill>
              </a:rPr>
              <a:t>Macro Planning :</a:t>
            </a:r>
          </a:p>
          <a:p>
            <a:pPr marL="555750" lvl="3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Hypothèses : go interne donné fin mars + arrivée automaticien début mars.</a:t>
            </a:r>
          </a:p>
          <a:p>
            <a:pPr marL="555750" lvl="3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Coulées ensemencées : novembre 2022, résultat en septembre 2023.</a:t>
            </a:r>
          </a:p>
          <a:p>
            <a:pPr marL="555750" lvl="3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>
                <a:solidFill>
                  <a:srgbClr val="1A003B"/>
                </a:solidFill>
              </a:rPr>
              <a:t>DVI : octobre 2024</a:t>
            </a:r>
          </a:p>
          <a:p>
            <a:pPr lvl="2" algn="just">
              <a:spcAft>
                <a:spcPts val="600"/>
              </a:spcAft>
            </a:pPr>
            <a:endParaRPr lang="fr-FR">
              <a:solidFill>
                <a:srgbClr val="1A003B"/>
              </a:solidFill>
            </a:endParaRP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2A54C39-4F42-45E4-AE46-D523568C285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06E3F47-01EE-47BD-964D-0AC98FE12DD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r-FR">
                <a:solidFill>
                  <a:srgbClr val="1A003B"/>
                </a:solidFill>
              </a:rPr>
              <a:t>Comité de Surveillance – 1/03/2022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FF0FF90-6647-4405-8289-C364AA9226C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73593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wSMiWloM_A9a1K.4C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wSMiWloM_A9a1K.4C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wSMiWloM_A9a1K.4C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wSMiWloM_A9a1K.4C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wSMiWloM_A9a1K.4C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dMAiSoY_kXsSnerboB6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wSMiWloM_A9a1K.4C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wSMiWloM_A9a1K.4C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wSMiWloM_A9a1K.4C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wSMiWloM_A9a1K.4C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wSMiWloM_A9a1K.4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wSMiWloM_A9a1K.4C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dMAiSoY_kXsSnerboB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dMAiSoY_kXsSnerboB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dMAiSoY_kXsSnerboB6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wSMiWloM_A9a1K.4Cog"/>
</p:tagLst>
</file>

<file path=ppt/theme/theme1.xml><?xml version="1.0" encoding="utf-8"?>
<a:theme xmlns:a="http://schemas.openxmlformats.org/drawingml/2006/main" name="CORPORATE (rouge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12_ALLIAGE (orange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EPA présentation 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1_EPA présentation 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PPT_modele_Eramet_Aubert-Duval_4-3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</a:theme>
</file>

<file path=ppt/theme/theme14.xml><?xml version="1.0" encoding="utf-8"?>
<a:theme xmlns:a="http://schemas.openxmlformats.org/drawingml/2006/main" name="2_EPA présentation 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1_PPT_modele_Eramet_Aubert-Duval_4-3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</a:theme>
</file>

<file path=ppt/theme/theme16.xml><?xml version="1.0" encoding="utf-8"?>
<a:theme xmlns:a="http://schemas.openxmlformats.org/drawingml/2006/main" name="3_EPA présentation 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4_EPA présentation 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NICKEL (vert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MANGANESE (bleu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ALLIAGE (orange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AUTRES METAUX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1_ALLIAGE (orange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2_ALLIAGE (orange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rgbClr val="6AB732"/>
        </a:solidFill>
      </a:spPr>
      <a:bodyPr wrap="square" rtlCol="0">
        <a:spAutoFit/>
      </a:bodyPr>
      <a:lstStyle>
        <a:defPPr>
          <a:defRPr sz="1800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7_ALLIAGE (orange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10_ALLIAGE (orange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8A72611BE443C4293EAF3F0B38D4E56" ma:contentTypeVersion="2" ma:contentTypeDescription="Crée un document." ma:contentTypeScope="" ma:versionID="a07bcb3b1b6c2f11f8a42c09dfbd7ab2">
  <xsd:schema xmlns:xsd="http://www.w3.org/2001/XMLSchema" xmlns:xs="http://www.w3.org/2001/XMLSchema" xmlns:p="http://schemas.microsoft.com/office/2006/metadata/properties" xmlns:ns2="2a46227c-7510-4cb1-a7b5-6bb15d36d82d" targetNamespace="http://schemas.microsoft.com/office/2006/metadata/properties" ma:root="true" ma:fieldsID="78c8ad84df1db712ed319456be049800" ns2:_="">
    <xsd:import namespace="2a46227c-7510-4cb1-a7b5-6bb15d36d8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46227c-7510-4cb1-a7b5-6bb15d36d82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4001A60-6A82-4C94-B7AA-01E5DB16253C}">
  <ds:schemaRefs>
    <ds:schemaRef ds:uri="2a46227c-7510-4cb1-a7b5-6bb15d36d82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818507A-C90F-4F0A-9E25-D5306258A8E5}">
  <ds:schemaRefs>
    <ds:schemaRef ds:uri="http://schemas.microsoft.com/office/2006/documentManagement/types"/>
    <ds:schemaRef ds:uri="http://schemas.microsoft.com/office/2006/metadata/properties"/>
    <ds:schemaRef ds:uri="2a46227c-7510-4cb1-a7b5-6bb15d36d82d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8159DD6-E306-4666-8068-64BD216357F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318</Words>
  <Application>Microsoft Office PowerPoint</Application>
  <PresentationFormat>Affichage à l'écran (4:3)</PresentationFormat>
  <Paragraphs>835</Paragraphs>
  <Slides>43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7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3</vt:i4>
      </vt:variant>
    </vt:vector>
  </HeadingPairs>
  <TitlesOfParts>
    <vt:vector size="66" baseType="lpstr">
      <vt:lpstr>Arial</vt:lpstr>
      <vt:lpstr>Arial Black</vt:lpstr>
      <vt:lpstr>Calibri</vt:lpstr>
      <vt:lpstr>Times New Roman</vt:lpstr>
      <vt:lpstr>Wingdings</vt:lpstr>
      <vt:lpstr>CORPORATE (rouge)</vt:lpstr>
      <vt:lpstr>NICKEL (vert)</vt:lpstr>
      <vt:lpstr>MANGANESE (bleu)</vt:lpstr>
      <vt:lpstr>ALLIAGE (orange)</vt:lpstr>
      <vt:lpstr>AUTRES METAUX</vt:lpstr>
      <vt:lpstr>1_ALLIAGE (orange)</vt:lpstr>
      <vt:lpstr>2_ALLIAGE (orange)</vt:lpstr>
      <vt:lpstr>7_ALLIAGE (orange)</vt:lpstr>
      <vt:lpstr>10_ALLIAGE (orange)</vt:lpstr>
      <vt:lpstr>12_ALLIAGE (orange)</vt:lpstr>
      <vt:lpstr>EPA présentation </vt:lpstr>
      <vt:lpstr>1_EPA présentation </vt:lpstr>
      <vt:lpstr>PPT_modele_Eramet_Aubert-Duval_4-3</vt:lpstr>
      <vt:lpstr>2_EPA présentation </vt:lpstr>
      <vt:lpstr>1_PPT_modele_Eramet_Aubert-Duval_4-3</vt:lpstr>
      <vt:lpstr>3_EPA présentation </vt:lpstr>
      <vt:lpstr>4_EPA présentation </vt:lpstr>
      <vt:lpstr>Diapositive think-cell</vt:lpstr>
      <vt:lpstr>EcoTitanium Comité de Surveillance Mars 2022</vt:lpstr>
      <vt:lpstr>Sommaire</vt:lpstr>
      <vt:lpstr>01</vt:lpstr>
      <vt:lpstr>01- Point industriel - 2022</vt:lpstr>
      <vt:lpstr>Présentation PowerPoint</vt:lpstr>
      <vt:lpstr>Projet EcoBoost Niv 1 Augmentation de Capacité EcoTitanium</vt:lpstr>
      <vt:lpstr>02</vt:lpstr>
      <vt:lpstr>02- Qualification Eponges AMIC</vt:lpstr>
      <vt:lpstr>02- Qualification Premium Quality</vt:lpstr>
      <vt:lpstr>02- Qualification Premium Quality</vt:lpstr>
      <vt:lpstr>02- Qualification Premium Quality</vt:lpstr>
      <vt:lpstr>03</vt:lpstr>
      <vt:lpstr>Commandes 2022 YTD &amp; Perspectives nouveaux développements</vt:lpstr>
      <vt:lpstr>Nouveaux Développements Commerciaux : RFQs &amp; Projets en cours</vt:lpstr>
      <vt:lpstr>04</vt:lpstr>
      <vt:lpstr>Présentation PowerPoint</vt:lpstr>
      <vt:lpstr>P&amp;L - Décembre 2021 YTD</vt:lpstr>
      <vt:lpstr>Cash Flow - Décembre 2021 YTD</vt:lpstr>
      <vt:lpstr>Rappel de l’évolution historique de la ligne de financement A&amp;D</vt:lpstr>
      <vt:lpstr>Actions de financement</vt:lpstr>
      <vt:lpstr>Présentation PowerPoint</vt:lpstr>
      <vt:lpstr>Sous capitalisation</vt:lpstr>
      <vt:lpstr>Présentation PowerPoint</vt:lpstr>
      <vt:lpstr>Budget 2022 : Executive Summary Principales hypothèses / Faits marquants (positifs &amp; négatifs)</vt:lpstr>
      <vt:lpstr>Budget 2022 : Sécurité</vt:lpstr>
      <vt:lpstr>Budget 2022 : Environnement</vt:lpstr>
      <vt:lpstr>Budget 2022 : Volumes vendus </vt:lpstr>
      <vt:lpstr>Budget 2022 : Production </vt:lpstr>
      <vt:lpstr>Budget 2022 : KPIs financiers </vt:lpstr>
      <vt:lpstr>Budget 2022 : Supply-chain – stocks nets</vt:lpstr>
      <vt:lpstr>Budget 2022 : Frais généraux </vt:lpstr>
      <vt:lpstr>Budget 2022 : Activité</vt:lpstr>
      <vt:lpstr>Budget 2022 : Personnel</vt:lpstr>
      <vt:lpstr>Budget 2022 : Capex </vt:lpstr>
      <vt:lpstr>Budget 2022 : Le détail des CAPEX</vt:lpstr>
      <vt:lpstr>Budget 2022 : CASH</vt:lpstr>
      <vt:lpstr>Présentation PowerPoint</vt:lpstr>
      <vt:lpstr>05</vt:lpstr>
      <vt:lpstr>Focus AEROTRADE</vt:lpstr>
      <vt:lpstr>06</vt:lpstr>
      <vt:lpstr>07</vt:lpstr>
      <vt:lpstr>07- Investissements listés à date</vt:lpstr>
      <vt:lpstr>07- Investissements Premium Qualit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erre</dc:creator>
  <cp:lastModifiedBy>ALLIER Raymond</cp:lastModifiedBy>
  <cp:revision>2</cp:revision>
  <cp:lastPrinted>2021-03-23T06:05:57Z</cp:lastPrinted>
  <dcterms:created xsi:type="dcterms:W3CDTF">2016-11-07T15:50:27Z</dcterms:created>
  <dcterms:modified xsi:type="dcterms:W3CDTF">2022-03-01T06:51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8A72611BE443C4293EAF3F0B38D4E56</vt:lpwstr>
  </property>
</Properties>
</file>